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27"/>
  </p:notesMasterIdLst>
  <p:sldIdLst>
    <p:sldId id="256" r:id="rId8"/>
    <p:sldId id="320" r:id="rId9"/>
    <p:sldId id="356" r:id="rId10"/>
    <p:sldId id="322" r:id="rId11"/>
    <p:sldId id="357" r:id="rId12"/>
    <p:sldId id="358" r:id="rId13"/>
    <p:sldId id="359" r:id="rId14"/>
    <p:sldId id="331" r:id="rId15"/>
    <p:sldId id="329" r:id="rId16"/>
    <p:sldId id="274" r:id="rId17"/>
    <p:sldId id="341" r:id="rId18"/>
    <p:sldId id="338" r:id="rId19"/>
    <p:sldId id="339" r:id="rId20"/>
    <p:sldId id="355" r:id="rId21"/>
    <p:sldId id="363" r:id="rId22"/>
    <p:sldId id="362" r:id="rId23"/>
    <p:sldId id="360" r:id="rId24"/>
    <p:sldId id="354" r:id="rId25"/>
    <p:sldId id="261" r:id="rId26"/>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EC8C4E90-CF91-D356-6453-89C7340D26BA}" name="Ewen Trafford" initials="ET" userId="S::e.trafford@nutrition.org.uk::e520b4bf-a196-48b7-bc10-b1590a457daa"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F3F"/>
    <a:srgbClr val="C0E3F2"/>
    <a:srgbClr val="97D0E9"/>
    <a:srgbClr val="FCE3C2"/>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13F79B4-0883-43B3-A8C1-4B35340FEE2D}" v="429" dt="2022-08-30T12:13:13.6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ags" Target="tags/tag1.xml"/><Relationship Id="rId36" Type="http://schemas.microsoft.com/office/2018/10/relationships/authors" Targe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wen Trafford" userId="e520b4bf-a196-48b7-bc10-b1590a457daa" providerId="ADAL" clId="{E13F79B4-0883-43B3-A8C1-4B35340FEE2D}"/>
    <pc:docChg chg="undo custSel addSld delSld modSld sldOrd">
      <pc:chgData name="Ewen Trafford" userId="e520b4bf-a196-48b7-bc10-b1590a457daa" providerId="ADAL" clId="{E13F79B4-0883-43B3-A8C1-4B35340FEE2D}" dt="2022-08-30T12:13:13.624" v="6213" actId="20577"/>
      <pc:docMkLst>
        <pc:docMk/>
      </pc:docMkLst>
      <pc:sldChg chg="modSp">
        <pc:chgData name="Ewen Trafford" userId="e520b4bf-a196-48b7-bc10-b1590a457daa" providerId="ADAL" clId="{E13F79B4-0883-43B3-A8C1-4B35340FEE2D}" dt="2022-08-10T11:11:21.419" v="0"/>
        <pc:sldMkLst>
          <pc:docMk/>
          <pc:sldMk cId="1955166399" sldId="256"/>
        </pc:sldMkLst>
        <pc:spChg chg="mod">
          <ac:chgData name="Ewen Trafford" userId="e520b4bf-a196-48b7-bc10-b1590a457daa" providerId="ADAL" clId="{E13F79B4-0883-43B3-A8C1-4B35340FEE2D}" dt="2022-08-10T11:11:21.419" v="0"/>
          <ac:spMkLst>
            <pc:docMk/>
            <pc:sldMk cId="1955166399" sldId="256"/>
            <ac:spMk id="2" creationId="{00000000-0000-0000-0000-000000000000}"/>
          </ac:spMkLst>
        </pc:spChg>
      </pc:sldChg>
      <pc:sldChg chg="modSp mod">
        <pc:chgData name="Ewen Trafford" userId="e520b4bf-a196-48b7-bc10-b1590a457daa" providerId="ADAL" clId="{E13F79B4-0883-43B3-A8C1-4B35340FEE2D}" dt="2022-08-24T13:01:01.270" v="4971" actId="20577"/>
        <pc:sldMkLst>
          <pc:docMk/>
          <pc:sldMk cId="2302005153" sldId="261"/>
        </pc:sldMkLst>
        <pc:spChg chg="mod">
          <ac:chgData name="Ewen Trafford" userId="e520b4bf-a196-48b7-bc10-b1590a457daa" providerId="ADAL" clId="{E13F79B4-0883-43B3-A8C1-4B35340FEE2D}" dt="2022-08-10T11:11:21.419" v="0"/>
          <ac:spMkLst>
            <pc:docMk/>
            <pc:sldMk cId="2302005153" sldId="261"/>
            <ac:spMk id="2" creationId="{00000000-0000-0000-0000-000000000000}"/>
          </ac:spMkLst>
        </pc:spChg>
        <pc:spChg chg="mod">
          <ac:chgData name="Ewen Trafford" userId="e520b4bf-a196-48b7-bc10-b1590a457daa" providerId="ADAL" clId="{E13F79B4-0883-43B3-A8C1-4B35340FEE2D}" dt="2022-08-24T13:01:01.270" v="4971" actId="20577"/>
          <ac:spMkLst>
            <pc:docMk/>
            <pc:sldMk cId="2302005153" sldId="261"/>
            <ac:spMk id="3" creationId="{00000000-0000-0000-0000-000000000000}"/>
          </ac:spMkLst>
        </pc:spChg>
      </pc:sldChg>
      <pc:sldChg chg="modSp mod">
        <pc:chgData name="Ewen Trafford" userId="e520b4bf-a196-48b7-bc10-b1590a457daa" providerId="ADAL" clId="{E13F79B4-0883-43B3-A8C1-4B35340FEE2D}" dt="2022-08-10T13:51:15.483" v="3132" actId="20577"/>
        <pc:sldMkLst>
          <pc:docMk/>
          <pc:sldMk cId="3993973292" sldId="274"/>
        </pc:sldMkLst>
        <pc:spChg chg="mod">
          <ac:chgData name="Ewen Trafford" userId="e520b4bf-a196-48b7-bc10-b1590a457daa" providerId="ADAL" clId="{E13F79B4-0883-43B3-A8C1-4B35340FEE2D}" dt="2022-08-10T13:51:15.483" v="3132" actId="20577"/>
          <ac:spMkLst>
            <pc:docMk/>
            <pc:sldMk cId="3993973292" sldId="274"/>
            <ac:spMk id="2" creationId="{00000000-0000-0000-0000-000000000000}"/>
          </ac:spMkLst>
        </pc:spChg>
        <pc:spChg chg="mod">
          <ac:chgData name="Ewen Trafford" userId="e520b4bf-a196-48b7-bc10-b1590a457daa" providerId="ADAL" clId="{E13F79B4-0883-43B3-A8C1-4B35340FEE2D}" dt="2022-08-10T13:49:06.181" v="3114" actId="20577"/>
          <ac:spMkLst>
            <pc:docMk/>
            <pc:sldMk cId="3993973292" sldId="274"/>
            <ac:spMk id="6" creationId="{A705A842-B67A-1091-B43C-016955CEB56E}"/>
          </ac:spMkLst>
        </pc:spChg>
      </pc:sldChg>
      <pc:sldChg chg="addSp delSp modSp mod">
        <pc:chgData name="Ewen Trafford" userId="e520b4bf-a196-48b7-bc10-b1590a457daa" providerId="ADAL" clId="{E13F79B4-0883-43B3-A8C1-4B35340FEE2D}" dt="2022-08-25T11:52:48.626" v="5917" actId="1582"/>
        <pc:sldMkLst>
          <pc:docMk/>
          <pc:sldMk cId="2831772784" sldId="320"/>
        </pc:sldMkLst>
        <pc:spChg chg="mod">
          <ac:chgData name="Ewen Trafford" userId="e520b4bf-a196-48b7-bc10-b1590a457daa" providerId="ADAL" clId="{E13F79B4-0883-43B3-A8C1-4B35340FEE2D}" dt="2022-08-10T14:00:35.018" v="3187" actId="20577"/>
          <ac:spMkLst>
            <pc:docMk/>
            <pc:sldMk cId="2831772784" sldId="320"/>
            <ac:spMk id="3" creationId="{B08F7FAB-511F-7730-95EA-CDCD60827684}"/>
          </ac:spMkLst>
        </pc:spChg>
        <pc:spChg chg="add del mod">
          <ac:chgData name="Ewen Trafford" userId="e520b4bf-a196-48b7-bc10-b1590a457daa" providerId="ADAL" clId="{E13F79B4-0883-43B3-A8C1-4B35340FEE2D}" dt="2022-08-10T11:49:52.487" v="21"/>
          <ac:spMkLst>
            <pc:docMk/>
            <pc:sldMk cId="2831772784" sldId="320"/>
            <ac:spMk id="4" creationId="{BA639DF9-2D3A-194C-3F56-B76AB5F56E08}"/>
          </ac:spMkLst>
        </pc:spChg>
        <pc:picChg chg="add del mod">
          <ac:chgData name="Ewen Trafford" userId="e520b4bf-a196-48b7-bc10-b1590a457daa" providerId="ADAL" clId="{E13F79B4-0883-43B3-A8C1-4B35340FEE2D}" dt="2022-08-25T11:52:48.626" v="5917" actId="1582"/>
          <ac:picMkLst>
            <pc:docMk/>
            <pc:sldMk cId="2831772784" sldId="320"/>
            <ac:picMk id="4" creationId="{5EA90935-58F4-1EDB-92F4-ED327FC70B2C}"/>
          </ac:picMkLst>
        </pc:picChg>
        <pc:picChg chg="add del mod">
          <ac:chgData name="Ewen Trafford" userId="e520b4bf-a196-48b7-bc10-b1590a457daa" providerId="ADAL" clId="{E13F79B4-0883-43B3-A8C1-4B35340FEE2D}" dt="2022-08-10T13:59:51.519" v="3156"/>
          <ac:picMkLst>
            <pc:docMk/>
            <pc:sldMk cId="2831772784" sldId="320"/>
            <ac:picMk id="5" creationId="{9C32E3FC-3E2D-ECE5-3B68-5126DE55C8BA}"/>
          </ac:picMkLst>
        </pc:picChg>
        <pc:picChg chg="add del mod">
          <ac:chgData name="Ewen Trafford" userId="e520b4bf-a196-48b7-bc10-b1590a457daa" providerId="ADAL" clId="{E13F79B4-0883-43B3-A8C1-4B35340FEE2D}" dt="2022-08-10T11:50:59.349" v="32" actId="478"/>
          <ac:picMkLst>
            <pc:docMk/>
            <pc:sldMk cId="2831772784" sldId="320"/>
            <ac:picMk id="1026" creationId="{1BC63FB7-BAC9-DEAE-087A-9A9BDE40CD88}"/>
          </ac:picMkLst>
        </pc:picChg>
        <pc:picChg chg="add del mod">
          <ac:chgData name="Ewen Trafford" userId="e520b4bf-a196-48b7-bc10-b1590a457daa" providerId="ADAL" clId="{E13F79B4-0883-43B3-A8C1-4B35340FEE2D}" dt="2022-08-10T11:49:58.565" v="24" actId="478"/>
          <ac:picMkLst>
            <pc:docMk/>
            <pc:sldMk cId="2831772784" sldId="320"/>
            <ac:picMk id="1028" creationId="{53935617-0DDB-FB57-5055-43CCD3401876}"/>
          </ac:picMkLst>
        </pc:picChg>
        <pc:picChg chg="del">
          <ac:chgData name="Ewen Trafford" userId="e520b4bf-a196-48b7-bc10-b1590a457daa" providerId="ADAL" clId="{E13F79B4-0883-43B3-A8C1-4B35340FEE2D}" dt="2022-08-10T11:11:32.478" v="4" actId="478"/>
          <ac:picMkLst>
            <pc:docMk/>
            <pc:sldMk cId="2831772784" sldId="320"/>
            <ac:picMk id="8194" creationId="{86C749E3-951D-48B7-AC0D-E75B5DA10A49}"/>
          </ac:picMkLst>
        </pc:picChg>
      </pc:sldChg>
      <pc:sldChg chg="modSp del">
        <pc:chgData name="Ewen Trafford" userId="e520b4bf-a196-48b7-bc10-b1590a457daa" providerId="ADAL" clId="{E13F79B4-0883-43B3-A8C1-4B35340FEE2D}" dt="2022-08-10T11:11:48.404" v="7" actId="47"/>
        <pc:sldMkLst>
          <pc:docMk/>
          <pc:sldMk cId="1195441026" sldId="321"/>
        </pc:sldMkLst>
        <pc:spChg chg="mod">
          <ac:chgData name="Ewen Trafford" userId="e520b4bf-a196-48b7-bc10-b1590a457daa" providerId="ADAL" clId="{E13F79B4-0883-43B3-A8C1-4B35340FEE2D}" dt="2022-08-10T11:11:21.419" v="0"/>
          <ac:spMkLst>
            <pc:docMk/>
            <pc:sldMk cId="1195441026" sldId="321"/>
            <ac:spMk id="2" creationId="{8C8F01D9-49FA-6C29-3674-01A422037CD5}"/>
          </ac:spMkLst>
        </pc:spChg>
        <pc:spChg chg="mod">
          <ac:chgData name="Ewen Trafford" userId="e520b4bf-a196-48b7-bc10-b1590a457daa" providerId="ADAL" clId="{E13F79B4-0883-43B3-A8C1-4B35340FEE2D}" dt="2022-08-10T11:11:21.419" v="0"/>
          <ac:spMkLst>
            <pc:docMk/>
            <pc:sldMk cId="1195441026" sldId="321"/>
            <ac:spMk id="3" creationId="{11F1639A-5BD0-7C4B-622B-50E9B9EA0EE0}"/>
          </ac:spMkLst>
        </pc:spChg>
      </pc:sldChg>
      <pc:sldChg chg="addSp delSp modSp mod ord">
        <pc:chgData name="Ewen Trafford" userId="e520b4bf-a196-48b7-bc10-b1590a457daa" providerId="ADAL" clId="{E13F79B4-0883-43B3-A8C1-4B35340FEE2D}" dt="2022-08-30T12:13:13.624" v="6213" actId="20577"/>
        <pc:sldMkLst>
          <pc:docMk/>
          <pc:sldMk cId="2939149858" sldId="322"/>
        </pc:sldMkLst>
        <pc:spChg chg="mod">
          <ac:chgData name="Ewen Trafford" userId="e520b4bf-a196-48b7-bc10-b1590a457daa" providerId="ADAL" clId="{E13F79B4-0883-43B3-A8C1-4B35340FEE2D}" dt="2022-08-10T13:51:10.653" v="3130" actId="20577"/>
          <ac:spMkLst>
            <pc:docMk/>
            <pc:sldMk cId="2939149858" sldId="322"/>
            <ac:spMk id="2" creationId="{C0656FD1-4489-F55F-822B-620888FD55A9}"/>
          </ac:spMkLst>
        </pc:spChg>
        <pc:spChg chg="mod">
          <ac:chgData name="Ewen Trafford" userId="e520b4bf-a196-48b7-bc10-b1590a457daa" providerId="ADAL" clId="{E13F79B4-0883-43B3-A8C1-4B35340FEE2D}" dt="2022-08-30T12:13:13.624" v="6213" actId="20577"/>
          <ac:spMkLst>
            <pc:docMk/>
            <pc:sldMk cId="2939149858" sldId="322"/>
            <ac:spMk id="3" creationId="{BE28E501-5A4E-D1A3-A7D8-65D153A748C4}"/>
          </ac:spMkLst>
        </pc:spChg>
        <pc:spChg chg="add del mod">
          <ac:chgData name="Ewen Trafford" userId="e520b4bf-a196-48b7-bc10-b1590a457daa" providerId="ADAL" clId="{E13F79B4-0883-43B3-A8C1-4B35340FEE2D}" dt="2022-08-10T13:50:07.575" v="3123" actId="478"/>
          <ac:spMkLst>
            <pc:docMk/>
            <pc:sldMk cId="2939149858" sldId="322"/>
            <ac:spMk id="5" creationId="{2ABC5E90-CC8E-8AAB-87D9-F01FFF5F8DEF}"/>
          </ac:spMkLst>
        </pc:spChg>
        <pc:spChg chg="del mod">
          <ac:chgData name="Ewen Trafford" userId="e520b4bf-a196-48b7-bc10-b1590a457daa" providerId="ADAL" clId="{E13F79B4-0883-43B3-A8C1-4B35340FEE2D}" dt="2022-08-10T13:50:02.802" v="3121" actId="478"/>
          <ac:spMkLst>
            <pc:docMk/>
            <pc:sldMk cId="2939149858" sldId="322"/>
            <ac:spMk id="6" creationId="{37F21B2D-0E3B-42DC-85A8-4511EB39D461}"/>
          </ac:spMkLst>
        </pc:spChg>
        <pc:spChg chg="add del mod">
          <ac:chgData name="Ewen Trafford" userId="e520b4bf-a196-48b7-bc10-b1590a457daa" providerId="ADAL" clId="{E13F79B4-0883-43B3-A8C1-4B35340FEE2D}" dt="2022-08-30T12:12:01.256" v="5937" actId="478"/>
          <ac:spMkLst>
            <pc:docMk/>
            <pc:sldMk cId="2939149858" sldId="322"/>
            <ac:spMk id="6" creationId="{A52802D7-A2E1-62E1-8E15-94A70CA135B7}"/>
          </ac:spMkLst>
        </pc:spChg>
        <pc:picChg chg="add del mod">
          <ac:chgData name="Ewen Trafford" userId="e520b4bf-a196-48b7-bc10-b1590a457daa" providerId="ADAL" clId="{E13F79B4-0883-43B3-A8C1-4B35340FEE2D}" dt="2022-08-30T12:11:50.481" v="5934" actId="478"/>
          <ac:picMkLst>
            <pc:docMk/>
            <pc:sldMk cId="2939149858" sldId="322"/>
            <ac:picMk id="4" creationId="{008E8A00-EB05-09AA-30F4-179B0E9CA022}"/>
          </ac:picMkLst>
        </pc:picChg>
        <pc:picChg chg="add mod">
          <ac:chgData name="Ewen Trafford" userId="e520b4bf-a196-48b7-bc10-b1590a457daa" providerId="ADAL" clId="{E13F79B4-0883-43B3-A8C1-4B35340FEE2D}" dt="2022-08-30T12:12:03.748" v="5938" actId="1076"/>
          <ac:picMkLst>
            <pc:docMk/>
            <pc:sldMk cId="2939149858" sldId="322"/>
            <ac:picMk id="5" creationId="{CED87DA0-9588-0878-87FD-F08C3B084F38}"/>
          </ac:picMkLst>
        </pc:picChg>
        <pc:picChg chg="del">
          <ac:chgData name="Ewen Trafford" userId="e520b4bf-a196-48b7-bc10-b1590a457daa" providerId="ADAL" clId="{E13F79B4-0883-43B3-A8C1-4B35340FEE2D}" dt="2022-08-10T11:11:37.485" v="6" actId="478"/>
          <ac:picMkLst>
            <pc:docMk/>
            <pc:sldMk cId="2939149858" sldId="322"/>
            <ac:picMk id="9218" creationId="{D3E4E176-8338-46ED-93E7-BF00525E8562}"/>
          </ac:picMkLst>
        </pc:picChg>
      </pc:sldChg>
      <pc:sldChg chg="modSp del">
        <pc:chgData name="Ewen Trafford" userId="e520b4bf-a196-48b7-bc10-b1590a457daa" providerId="ADAL" clId="{E13F79B4-0883-43B3-A8C1-4B35340FEE2D}" dt="2022-08-10T11:11:49.334" v="8" actId="47"/>
        <pc:sldMkLst>
          <pc:docMk/>
          <pc:sldMk cId="1855309931" sldId="323"/>
        </pc:sldMkLst>
        <pc:spChg chg="mod">
          <ac:chgData name="Ewen Trafford" userId="e520b4bf-a196-48b7-bc10-b1590a457daa" providerId="ADAL" clId="{E13F79B4-0883-43B3-A8C1-4B35340FEE2D}" dt="2022-08-10T11:11:21.419" v="0"/>
          <ac:spMkLst>
            <pc:docMk/>
            <pc:sldMk cId="1855309931" sldId="323"/>
            <ac:spMk id="2" creationId="{CF40B81A-2823-8056-34AE-B3308191DF5B}"/>
          </ac:spMkLst>
        </pc:spChg>
        <pc:spChg chg="mod">
          <ac:chgData name="Ewen Trafford" userId="e520b4bf-a196-48b7-bc10-b1590a457daa" providerId="ADAL" clId="{E13F79B4-0883-43B3-A8C1-4B35340FEE2D}" dt="2022-08-10T11:11:21.419" v="0"/>
          <ac:spMkLst>
            <pc:docMk/>
            <pc:sldMk cId="1855309931" sldId="323"/>
            <ac:spMk id="3" creationId="{53B4885A-37FC-0B67-2285-D9A9B9DC8C09}"/>
          </ac:spMkLst>
        </pc:spChg>
      </pc:sldChg>
      <pc:sldChg chg="modSp del">
        <pc:chgData name="Ewen Trafford" userId="e520b4bf-a196-48b7-bc10-b1590a457daa" providerId="ADAL" clId="{E13F79B4-0883-43B3-A8C1-4B35340FEE2D}" dt="2022-08-10T11:11:50.244" v="9" actId="47"/>
        <pc:sldMkLst>
          <pc:docMk/>
          <pc:sldMk cId="1577086551" sldId="325"/>
        </pc:sldMkLst>
        <pc:spChg chg="mod">
          <ac:chgData name="Ewen Trafford" userId="e520b4bf-a196-48b7-bc10-b1590a457daa" providerId="ADAL" clId="{E13F79B4-0883-43B3-A8C1-4B35340FEE2D}" dt="2022-08-10T11:11:21.419" v="0"/>
          <ac:spMkLst>
            <pc:docMk/>
            <pc:sldMk cId="1577086551" sldId="325"/>
            <ac:spMk id="3" creationId="{25ECF5C8-B231-B34A-F7D8-C96CD9FECAD2}"/>
          </ac:spMkLst>
        </pc:spChg>
      </pc:sldChg>
      <pc:sldChg chg="del">
        <pc:chgData name="Ewen Trafford" userId="e520b4bf-a196-48b7-bc10-b1590a457daa" providerId="ADAL" clId="{E13F79B4-0883-43B3-A8C1-4B35340FEE2D}" dt="2022-08-10T11:11:52.742" v="12" actId="47"/>
        <pc:sldMkLst>
          <pc:docMk/>
          <pc:sldMk cId="2100916119" sldId="326"/>
        </pc:sldMkLst>
      </pc:sldChg>
      <pc:sldChg chg="delSp modSp mod">
        <pc:chgData name="Ewen Trafford" userId="e520b4bf-a196-48b7-bc10-b1590a457daa" providerId="ADAL" clId="{E13F79B4-0883-43B3-A8C1-4B35340FEE2D}" dt="2022-08-30T10:43:02.465" v="5932" actId="242"/>
        <pc:sldMkLst>
          <pc:docMk/>
          <pc:sldMk cId="3594171061" sldId="331"/>
        </pc:sldMkLst>
        <pc:spChg chg="del">
          <ac:chgData name="Ewen Trafford" userId="e520b4bf-a196-48b7-bc10-b1590a457daa" providerId="ADAL" clId="{E13F79B4-0883-43B3-A8C1-4B35340FEE2D}" dt="2022-08-10T13:23:02.745" v="1522" actId="478"/>
          <ac:spMkLst>
            <pc:docMk/>
            <pc:sldMk cId="3594171061" sldId="331"/>
            <ac:spMk id="3" creationId="{F125752D-9A62-EC8F-B592-EBFBCA644C0A}"/>
          </ac:spMkLst>
        </pc:spChg>
        <pc:graphicFrameChg chg="mod modGraphic">
          <ac:chgData name="Ewen Trafford" userId="e520b4bf-a196-48b7-bc10-b1590a457daa" providerId="ADAL" clId="{E13F79B4-0883-43B3-A8C1-4B35340FEE2D}" dt="2022-08-30T10:43:02.465" v="5932" actId="242"/>
          <ac:graphicFrameMkLst>
            <pc:docMk/>
            <pc:sldMk cId="3594171061" sldId="331"/>
            <ac:graphicFrameMk id="4" creationId="{852C40F4-3A0C-2C57-5C1A-53EF072895F3}"/>
          </ac:graphicFrameMkLst>
        </pc:graphicFrameChg>
      </pc:sldChg>
      <pc:sldChg chg="del">
        <pc:chgData name="Ewen Trafford" userId="e520b4bf-a196-48b7-bc10-b1590a457daa" providerId="ADAL" clId="{E13F79B4-0883-43B3-A8C1-4B35340FEE2D}" dt="2022-08-10T11:11:53.432" v="13" actId="47"/>
        <pc:sldMkLst>
          <pc:docMk/>
          <pc:sldMk cId="2621305010" sldId="333"/>
        </pc:sldMkLst>
      </pc:sldChg>
      <pc:sldChg chg="modSp del">
        <pc:chgData name="Ewen Trafford" userId="e520b4bf-a196-48b7-bc10-b1590a457daa" providerId="ADAL" clId="{E13F79B4-0883-43B3-A8C1-4B35340FEE2D}" dt="2022-08-10T11:11:52.091" v="11" actId="47"/>
        <pc:sldMkLst>
          <pc:docMk/>
          <pc:sldMk cId="568958115" sldId="335"/>
        </pc:sldMkLst>
        <pc:spChg chg="mod">
          <ac:chgData name="Ewen Trafford" userId="e520b4bf-a196-48b7-bc10-b1590a457daa" providerId="ADAL" clId="{E13F79B4-0883-43B3-A8C1-4B35340FEE2D}" dt="2022-08-10T11:11:21.419" v="0"/>
          <ac:spMkLst>
            <pc:docMk/>
            <pc:sldMk cId="568958115" sldId="335"/>
            <ac:spMk id="3" creationId="{7A1ACDE8-06F6-9A1F-FEA6-E8329882C225}"/>
          </ac:spMkLst>
        </pc:spChg>
      </pc:sldChg>
      <pc:sldChg chg="addSp delSp modSp mod">
        <pc:chgData name="Ewen Trafford" userId="e520b4bf-a196-48b7-bc10-b1590a457daa" providerId="ADAL" clId="{E13F79B4-0883-43B3-A8C1-4B35340FEE2D}" dt="2022-08-10T13:19:41.266" v="1368" actId="20577"/>
        <pc:sldMkLst>
          <pc:docMk/>
          <pc:sldMk cId="2046763801" sldId="338"/>
        </pc:sldMkLst>
        <pc:spChg chg="mod">
          <ac:chgData name="Ewen Trafford" userId="e520b4bf-a196-48b7-bc10-b1590a457daa" providerId="ADAL" clId="{E13F79B4-0883-43B3-A8C1-4B35340FEE2D}" dt="2022-08-10T12:23:00.687" v="119" actId="20577"/>
          <ac:spMkLst>
            <pc:docMk/>
            <pc:sldMk cId="2046763801" sldId="338"/>
            <ac:spMk id="2" creationId="{CB2517A4-E10A-E444-1061-434E356416A6}"/>
          </ac:spMkLst>
        </pc:spChg>
        <pc:spChg chg="mod">
          <ac:chgData name="Ewen Trafford" userId="e520b4bf-a196-48b7-bc10-b1590a457daa" providerId="ADAL" clId="{E13F79B4-0883-43B3-A8C1-4B35340FEE2D}" dt="2022-08-10T13:19:41.266" v="1368" actId="20577"/>
          <ac:spMkLst>
            <pc:docMk/>
            <pc:sldMk cId="2046763801" sldId="338"/>
            <ac:spMk id="3" creationId="{CDC99BCA-D4B3-5B9E-85FC-708932B92CBD}"/>
          </ac:spMkLst>
        </pc:spChg>
        <pc:spChg chg="add del mod">
          <ac:chgData name="Ewen Trafford" userId="e520b4bf-a196-48b7-bc10-b1590a457daa" providerId="ADAL" clId="{E13F79B4-0883-43B3-A8C1-4B35340FEE2D}" dt="2022-08-10T12:22:22.646" v="84" actId="478"/>
          <ac:spMkLst>
            <pc:docMk/>
            <pc:sldMk cId="2046763801" sldId="338"/>
            <ac:spMk id="5" creationId="{3A7D1F68-1921-B36D-E6B7-A0440D9988A2}"/>
          </ac:spMkLst>
        </pc:spChg>
        <pc:picChg chg="add del mod">
          <ac:chgData name="Ewen Trafford" userId="e520b4bf-a196-48b7-bc10-b1590a457daa" providerId="ADAL" clId="{E13F79B4-0883-43B3-A8C1-4B35340FEE2D}" dt="2022-08-10T12:22:21.463" v="83" actId="478"/>
          <ac:picMkLst>
            <pc:docMk/>
            <pc:sldMk cId="2046763801" sldId="338"/>
            <ac:picMk id="4" creationId="{1E212A8C-E572-C018-B208-C57F95EDC5E6}"/>
          </ac:picMkLst>
        </pc:picChg>
        <pc:picChg chg="add del mod">
          <ac:chgData name="Ewen Trafford" userId="e520b4bf-a196-48b7-bc10-b1590a457daa" providerId="ADAL" clId="{E13F79B4-0883-43B3-A8C1-4B35340FEE2D}" dt="2022-08-10T13:02:51.112" v="266" actId="478"/>
          <ac:picMkLst>
            <pc:docMk/>
            <pc:sldMk cId="2046763801" sldId="338"/>
            <ac:picMk id="7" creationId="{7D9CAEC3-459C-0538-8FC1-6E8E13674DF0}"/>
          </ac:picMkLst>
        </pc:picChg>
        <pc:picChg chg="add mod">
          <ac:chgData name="Ewen Trafford" userId="e520b4bf-a196-48b7-bc10-b1590a457daa" providerId="ADAL" clId="{E13F79B4-0883-43B3-A8C1-4B35340FEE2D}" dt="2022-08-10T13:03:22.875" v="272" actId="1076"/>
          <ac:picMkLst>
            <pc:docMk/>
            <pc:sldMk cId="2046763801" sldId="338"/>
            <ac:picMk id="9" creationId="{39B07E9A-148D-EAAA-94D5-EC4D1FE661DB}"/>
          </ac:picMkLst>
        </pc:picChg>
        <pc:picChg chg="add mod">
          <ac:chgData name="Ewen Trafford" userId="e520b4bf-a196-48b7-bc10-b1590a457daa" providerId="ADAL" clId="{E13F79B4-0883-43B3-A8C1-4B35340FEE2D}" dt="2022-08-10T13:03:21.675" v="271" actId="1076"/>
          <ac:picMkLst>
            <pc:docMk/>
            <pc:sldMk cId="2046763801" sldId="338"/>
            <ac:picMk id="11" creationId="{560C50FD-F8AC-18EC-C2CE-3358E969A702}"/>
          </ac:picMkLst>
        </pc:picChg>
      </pc:sldChg>
      <pc:sldChg chg="addSp modSp mod">
        <pc:chgData name="Ewen Trafford" userId="e520b4bf-a196-48b7-bc10-b1590a457daa" providerId="ADAL" clId="{E13F79B4-0883-43B3-A8C1-4B35340FEE2D}" dt="2022-08-10T13:47:46.122" v="3035" actId="20577"/>
        <pc:sldMkLst>
          <pc:docMk/>
          <pc:sldMk cId="2070260529" sldId="339"/>
        </pc:sldMkLst>
        <pc:spChg chg="mod">
          <ac:chgData name="Ewen Trafford" userId="e520b4bf-a196-48b7-bc10-b1590a457daa" providerId="ADAL" clId="{E13F79B4-0883-43B3-A8C1-4B35340FEE2D}" dt="2022-08-10T12:22:55.006" v="108" actId="20577"/>
          <ac:spMkLst>
            <pc:docMk/>
            <pc:sldMk cId="2070260529" sldId="339"/>
            <ac:spMk id="2" creationId="{7F902433-BE09-580A-3E8C-C0DDD80ACC8F}"/>
          </ac:spMkLst>
        </pc:spChg>
        <pc:spChg chg="mod">
          <ac:chgData name="Ewen Trafford" userId="e520b4bf-a196-48b7-bc10-b1590a457daa" providerId="ADAL" clId="{E13F79B4-0883-43B3-A8C1-4B35340FEE2D}" dt="2022-08-10T13:47:46.122" v="3035" actId="20577"/>
          <ac:spMkLst>
            <pc:docMk/>
            <pc:sldMk cId="2070260529" sldId="339"/>
            <ac:spMk id="3" creationId="{82844BDE-4E6A-0B46-4D93-2FCABBF069E7}"/>
          </ac:spMkLst>
        </pc:spChg>
        <pc:spChg chg="add mod">
          <ac:chgData name="Ewen Trafford" userId="e520b4bf-a196-48b7-bc10-b1590a457daa" providerId="ADAL" clId="{E13F79B4-0883-43B3-A8C1-4B35340FEE2D}" dt="2022-08-10T12:21:45.195" v="75"/>
          <ac:spMkLst>
            <pc:docMk/>
            <pc:sldMk cId="2070260529" sldId="339"/>
            <ac:spMk id="5" creationId="{C10B83B7-1880-9726-09A0-10F90A6220D5}"/>
          </ac:spMkLst>
        </pc:spChg>
        <pc:picChg chg="add mod">
          <ac:chgData name="Ewen Trafford" userId="e520b4bf-a196-48b7-bc10-b1590a457daa" providerId="ADAL" clId="{E13F79B4-0883-43B3-A8C1-4B35340FEE2D}" dt="2022-08-10T12:21:45.195" v="75"/>
          <ac:picMkLst>
            <pc:docMk/>
            <pc:sldMk cId="2070260529" sldId="339"/>
            <ac:picMk id="4" creationId="{C0DD9824-1FEA-653E-A8E5-A883F92312F9}"/>
          </ac:picMkLst>
        </pc:picChg>
      </pc:sldChg>
      <pc:sldChg chg="addSp delSp modSp mod">
        <pc:chgData name="Ewen Trafford" userId="e520b4bf-a196-48b7-bc10-b1590a457daa" providerId="ADAL" clId="{E13F79B4-0883-43B3-A8C1-4B35340FEE2D}" dt="2022-08-25T11:53:04.524" v="5920" actId="1582"/>
        <pc:sldMkLst>
          <pc:docMk/>
          <pc:sldMk cId="1867798484" sldId="341"/>
        </pc:sldMkLst>
        <pc:spChg chg="mod">
          <ac:chgData name="Ewen Trafford" userId="e520b4bf-a196-48b7-bc10-b1590a457daa" providerId="ADAL" clId="{E13F79B4-0883-43B3-A8C1-4B35340FEE2D}" dt="2022-08-10T12:20:25.862" v="62" actId="20577"/>
          <ac:spMkLst>
            <pc:docMk/>
            <pc:sldMk cId="1867798484" sldId="341"/>
            <ac:spMk id="3" creationId="{B08F7FAB-511F-7730-95EA-CDCD60827684}"/>
          </ac:spMkLst>
        </pc:spChg>
        <pc:spChg chg="add del mod">
          <ac:chgData name="Ewen Trafford" userId="e520b4bf-a196-48b7-bc10-b1590a457daa" providerId="ADAL" clId="{E13F79B4-0883-43B3-A8C1-4B35340FEE2D}" dt="2022-08-10T12:21:01.546" v="70" actId="21"/>
          <ac:spMkLst>
            <pc:docMk/>
            <pc:sldMk cId="1867798484" sldId="341"/>
            <ac:spMk id="5" creationId="{8240040B-32E7-04B4-B9F9-05ECD6CF3D51}"/>
          </ac:spMkLst>
        </pc:spChg>
        <pc:spChg chg="add mod">
          <ac:chgData name="Ewen Trafford" userId="e520b4bf-a196-48b7-bc10-b1590a457daa" providerId="ADAL" clId="{E13F79B4-0883-43B3-A8C1-4B35340FEE2D}" dt="2022-08-10T13:16:01.430" v="1158" actId="1076"/>
          <ac:spMkLst>
            <pc:docMk/>
            <pc:sldMk cId="1867798484" sldId="341"/>
            <ac:spMk id="8" creationId="{B7BE1D43-5C3A-7249-1299-F039338CEE5A}"/>
          </ac:spMkLst>
        </pc:spChg>
        <pc:picChg chg="add del mod">
          <ac:chgData name="Ewen Trafford" userId="e520b4bf-a196-48b7-bc10-b1590a457daa" providerId="ADAL" clId="{E13F79B4-0883-43B3-A8C1-4B35340FEE2D}" dt="2022-08-10T12:21:01.546" v="70" actId="21"/>
          <ac:picMkLst>
            <pc:docMk/>
            <pc:sldMk cId="1867798484" sldId="341"/>
            <ac:picMk id="4" creationId="{28617A62-1447-DBC3-6CA2-AB14C670BE82}"/>
          </ac:picMkLst>
        </pc:picChg>
        <pc:picChg chg="add mod">
          <ac:chgData name="Ewen Trafford" userId="e520b4bf-a196-48b7-bc10-b1590a457daa" providerId="ADAL" clId="{E13F79B4-0883-43B3-A8C1-4B35340FEE2D}" dt="2022-08-25T11:53:04.524" v="5920" actId="1582"/>
          <ac:picMkLst>
            <pc:docMk/>
            <pc:sldMk cId="1867798484" sldId="341"/>
            <ac:picMk id="7" creationId="{45AAE0BE-ABD8-B443-A4C9-D9602D389C13}"/>
          </ac:picMkLst>
        </pc:picChg>
      </pc:sldChg>
      <pc:sldChg chg="modSp del mod">
        <pc:chgData name="Ewen Trafford" userId="e520b4bf-a196-48b7-bc10-b1590a457daa" providerId="ADAL" clId="{E13F79B4-0883-43B3-A8C1-4B35340FEE2D}" dt="2022-08-12T08:45:50.935" v="4769" actId="47"/>
        <pc:sldMkLst>
          <pc:docMk/>
          <pc:sldMk cId="1628781729" sldId="345"/>
        </pc:sldMkLst>
        <pc:spChg chg="mod">
          <ac:chgData name="Ewen Trafford" userId="e520b4bf-a196-48b7-bc10-b1590a457daa" providerId="ADAL" clId="{E13F79B4-0883-43B3-A8C1-4B35340FEE2D}" dt="2022-08-10T11:11:21.419" v="0"/>
          <ac:spMkLst>
            <pc:docMk/>
            <pc:sldMk cId="1628781729" sldId="345"/>
            <ac:spMk id="2" creationId="{74B8B1D9-E25C-F40A-522B-54113616FBDB}"/>
          </ac:spMkLst>
        </pc:spChg>
        <pc:spChg chg="mod">
          <ac:chgData name="Ewen Trafford" userId="e520b4bf-a196-48b7-bc10-b1590a457daa" providerId="ADAL" clId="{E13F79B4-0883-43B3-A8C1-4B35340FEE2D}" dt="2022-08-10T12:43:22.495" v="210" actId="20577"/>
          <ac:spMkLst>
            <pc:docMk/>
            <pc:sldMk cId="1628781729" sldId="345"/>
            <ac:spMk id="3" creationId="{8CAB9D22-B491-9AFA-4800-DD173F69AF8D}"/>
          </ac:spMkLst>
        </pc:spChg>
      </pc:sldChg>
      <pc:sldChg chg="del">
        <pc:chgData name="Ewen Trafford" userId="e520b4bf-a196-48b7-bc10-b1590a457daa" providerId="ADAL" clId="{E13F79B4-0883-43B3-A8C1-4B35340FEE2D}" dt="2022-08-10T13:51:31.298" v="3133" actId="47"/>
        <pc:sldMkLst>
          <pc:docMk/>
          <pc:sldMk cId="2216651741" sldId="349"/>
        </pc:sldMkLst>
      </pc:sldChg>
      <pc:sldChg chg="addSp delSp modSp del mod ord addCm delCm modCm">
        <pc:chgData name="Ewen Trafford" userId="e520b4bf-a196-48b7-bc10-b1590a457daa" providerId="ADAL" clId="{E13F79B4-0883-43B3-A8C1-4B35340FEE2D}" dt="2022-08-25T11:30:38.337" v="5065" actId="47"/>
        <pc:sldMkLst>
          <pc:docMk/>
          <pc:sldMk cId="1044731279" sldId="350"/>
        </pc:sldMkLst>
        <pc:spChg chg="mod">
          <ac:chgData name="Ewen Trafford" userId="e520b4bf-a196-48b7-bc10-b1590a457daa" providerId="ADAL" clId="{E13F79B4-0883-43B3-A8C1-4B35340FEE2D}" dt="2022-08-25T11:27:19.967" v="5020" actId="20577"/>
          <ac:spMkLst>
            <pc:docMk/>
            <pc:sldMk cId="1044731279" sldId="350"/>
            <ac:spMk id="2" creationId="{09C8F7D6-0DE9-55CD-510F-91955FB21153}"/>
          </ac:spMkLst>
        </pc:spChg>
        <pc:spChg chg="mod">
          <ac:chgData name="Ewen Trafford" userId="e520b4bf-a196-48b7-bc10-b1590a457daa" providerId="ADAL" clId="{E13F79B4-0883-43B3-A8C1-4B35340FEE2D}" dt="2022-08-25T11:28:07.996" v="5063" actId="20577"/>
          <ac:spMkLst>
            <pc:docMk/>
            <pc:sldMk cId="1044731279" sldId="350"/>
            <ac:spMk id="3" creationId="{3F4AB2AE-64C7-4EAD-7377-33BA885C3FC6}"/>
          </ac:spMkLst>
        </pc:spChg>
        <pc:spChg chg="add del mod">
          <ac:chgData name="Ewen Trafford" userId="e520b4bf-a196-48b7-bc10-b1590a457daa" providerId="ADAL" clId="{E13F79B4-0883-43B3-A8C1-4B35340FEE2D}" dt="2022-08-25T11:27:06.386" v="5004" actId="478"/>
          <ac:spMkLst>
            <pc:docMk/>
            <pc:sldMk cId="1044731279" sldId="350"/>
            <ac:spMk id="5" creationId="{DAC76E60-BB91-9DEC-59D1-2D494F29831F}"/>
          </ac:spMkLst>
        </pc:spChg>
        <pc:picChg chg="add del mod">
          <ac:chgData name="Ewen Trafford" userId="e520b4bf-a196-48b7-bc10-b1590a457daa" providerId="ADAL" clId="{E13F79B4-0883-43B3-A8C1-4B35340FEE2D}" dt="2022-08-25T11:27:07.335" v="5006" actId="478"/>
          <ac:picMkLst>
            <pc:docMk/>
            <pc:sldMk cId="1044731279" sldId="350"/>
            <ac:picMk id="4" creationId="{A078350A-EB60-4DA3-89D6-AC291857BE20}"/>
          </ac:picMkLst>
        </pc:picChg>
        <pc:picChg chg="add del mod">
          <ac:chgData name="Ewen Trafford" userId="e520b4bf-a196-48b7-bc10-b1590a457daa" providerId="ADAL" clId="{E13F79B4-0883-43B3-A8C1-4B35340FEE2D}" dt="2022-08-25T11:27:06.908" v="5005" actId="478"/>
          <ac:picMkLst>
            <pc:docMk/>
            <pc:sldMk cId="1044731279" sldId="350"/>
            <ac:picMk id="6" creationId="{BE3D9AF1-506F-E402-E42F-A12A187CAB4E}"/>
          </ac:picMkLst>
        </pc:picChg>
      </pc:sldChg>
      <pc:sldChg chg="addSp modSp mod">
        <pc:chgData name="Ewen Trafford" userId="e520b4bf-a196-48b7-bc10-b1590a457daa" providerId="ADAL" clId="{E13F79B4-0883-43B3-A8C1-4B35340FEE2D}" dt="2022-08-24T14:52:32.565" v="4976" actId="1076"/>
        <pc:sldMkLst>
          <pc:docMk/>
          <pc:sldMk cId="1109679171" sldId="354"/>
        </pc:sldMkLst>
        <pc:spChg chg="mod">
          <ac:chgData name="Ewen Trafford" userId="e520b4bf-a196-48b7-bc10-b1590a457daa" providerId="ADAL" clId="{E13F79B4-0883-43B3-A8C1-4B35340FEE2D}" dt="2022-08-24T14:52:32.565" v="4976" actId="1076"/>
          <ac:spMkLst>
            <pc:docMk/>
            <pc:sldMk cId="1109679171" sldId="354"/>
            <ac:spMk id="3" creationId="{5204CA75-A31A-AD47-DC3C-C19E15F38F87}"/>
          </ac:spMkLst>
        </pc:spChg>
        <pc:spChg chg="add mod">
          <ac:chgData name="Ewen Trafford" userId="e520b4bf-a196-48b7-bc10-b1590a457daa" providerId="ADAL" clId="{E13F79B4-0883-43B3-A8C1-4B35340FEE2D}" dt="2022-08-24T12:56:33.847" v="4967"/>
          <ac:spMkLst>
            <pc:docMk/>
            <pc:sldMk cId="1109679171" sldId="354"/>
            <ac:spMk id="4" creationId="{3A4A2622-89E0-D556-37A6-B3434A77FD63}"/>
          </ac:spMkLst>
        </pc:spChg>
      </pc:sldChg>
      <pc:sldChg chg="del">
        <pc:chgData name="Ewen Trafford" userId="e520b4bf-a196-48b7-bc10-b1590a457daa" providerId="ADAL" clId="{E13F79B4-0883-43B3-A8C1-4B35340FEE2D}" dt="2022-08-10T11:11:51.312" v="10" actId="47"/>
        <pc:sldMkLst>
          <pc:docMk/>
          <pc:sldMk cId="357386720" sldId="355"/>
        </pc:sldMkLst>
      </pc:sldChg>
      <pc:sldChg chg="addSp delSp modSp add mod">
        <pc:chgData name="Ewen Trafford" userId="e520b4bf-a196-48b7-bc10-b1590a457daa" providerId="ADAL" clId="{E13F79B4-0883-43B3-A8C1-4B35340FEE2D}" dt="2022-08-10T13:47:58.297" v="3036" actId="14100"/>
        <pc:sldMkLst>
          <pc:docMk/>
          <pc:sldMk cId="4038767943" sldId="355"/>
        </pc:sldMkLst>
        <pc:spChg chg="mod">
          <ac:chgData name="Ewen Trafford" userId="e520b4bf-a196-48b7-bc10-b1590a457daa" providerId="ADAL" clId="{E13F79B4-0883-43B3-A8C1-4B35340FEE2D}" dt="2022-08-10T12:22:51.118" v="106" actId="20577"/>
          <ac:spMkLst>
            <pc:docMk/>
            <pc:sldMk cId="4038767943" sldId="355"/>
            <ac:spMk id="2" creationId="{7F902433-BE09-580A-3E8C-C0DDD80ACC8F}"/>
          </ac:spMkLst>
        </pc:spChg>
        <pc:spChg chg="mod">
          <ac:chgData name="Ewen Trafford" userId="e520b4bf-a196-48b7-bc10-b1590a457daa" providerId="ADAL" clId="{E13F79B4-0883-43B3-A8C1-4B35340FEE2D}" dt="2022-08-10T13:47:58.297" v="3036" actId="14100"/>
          <ac:spMkLst>
            <pc:docMk/>
            <pc:sldMk cId="4038767943" sldId="355"/>
            <ac:spMk id="3" creationId="{82844BDE-4E6A-0B46-4D93-2FCABBF069E7}"/>
          </ac:spMkLst>
        </pc:spChg>
        <pc:spChg chg="del">
          <ac:chgData name="Ewen Trafford" userId="e520b4bf-a196-48b7-bc10-b1590a457daa" providerId="ADAL" clId="{E13F79B4-0883-43B3-A8C1-4B35340FEE2D}" dt="2022-08-10T12:22:41.894" v="89" actId="478"/>
          <ac:spMkLst>
            <pc:docMk/>
            <pc:sldMk cId="4038767943" sldId="355"/>
            <ac:spMk id="5" creationId="{C10B83B7-1880-9726-09A0-10F90A6220D5}"/>
          </ac:spMkLst>
        </pc:spChg>
        <pc:picChg chg="del">
          <ac:chgData name="Ewen Trafford" userId="e520b4bf-a196-48b7-bc10-b1590a457daa" providerId="ADAL" clId="{E13F79B4-0883-43B3-A8C1-4B35340FEE2D}" dt="2022-08-10T12:22:41.322" v="88" actId="478"/>
          <ac:picMkLst>
            <pc:docMk/>
            <pc:sldMk cId="4038767943" sldId="355"/>
            <ac:picMk id="4" creationId="{C0DD9824-1FEA-653E-A8E5-A883F92312F9}"/>
          </ac:picMkLst>
        </pc:picChg>
        <pc:picChg chg="add mod modCrop">
          <ac:chgData name="Ewen Trafford" userId="e520b4bf-a196-48b7-bc10-b1590a457daa" providerId="ADAL" clId="{E13F79B4-0883-43B3-A8C1-4B35340FEE2D}" dt="2022-08-10T13:09:36.840" v="891" actId="1076"/>
          <ac:picMkLst>
            <pc:docMk/>
            <pc:sldMk cId="4038767943" sldId="355"/>
            <ac:picMk id="7" creationId="{EB7A8686-EE45-8684-9760-797B99F42199}"/>
          </ac:picMkLst>
        </pc:picChg>
        <pc:picChg chg="add mod ord">
          <ac:chgData name="Ewen Trafford" userId="e520b4bf-a196-48b7-bc10-b1590a457daa" providerId="ADAL" clId="{E13F79B4-0883-43B3-A8C1-4B35340FEE2D}" dt="2022-08-10T13:09:37.989" v="892" actId="1076"/>
          <ac:picMkLst>
            <pc:docMk/>
            <pc:sldMk cId="4038767943" sldId="355"/>
            <ac:picMk id="9" creationId="{BC7CCA4E-6F4C-B5B2-976D-EB61B6F44406}"/>
          </ac:picMkLst>
        </pc:picChg>
        <pc:picChg chg="add mod">
          <ac:chgData name="Ewen Trafford" userId="e520b4bf-a196-48b7-bc10-b1590a457daa" providerId="ADAL" clId="{E13F79B4-0883-43B3-A8C1-4B35340FEE2D}" dt="2022-08-10T13:09:39.028" v="893" actId="1076"/>
          <ac:picMkLst>
            <pc:docMk/>
            <pc:sldMk cId="4038767943" sldId="355"/>
            <ac:picMk id="10" creationId="{61F032F2-D06C-D25B-6BCD-DF6BF44FC827}"/>
          </ac:picMkLst>
        </pc:picChg>
      </pc:sldChg>
      <pc:sldChg chg="del">
        <pc:chgData name="Ewen Trafford" userId="e520b4bf-a196-48b7-bc10-b1590a457daa" providerId="ADAL" clId="{E13F79B4-0883-43B3-A8C1-4B35340FEE2D}" dt="2022-08-10T11:12:04.017" v="17" actId="47"/>
        <pc:sldMkLst>
          <pc:docMk/>
          <pc:sldMk cId="2227979570" sldId="356"/>
        </pc:sldMkLst>
      </pc:sldChg>
      <pc:sldChg chg="addSp delSp modSp add mod ord">
        <pc:chgData name="Ewen Trafford" userId="e520b4bf-a196-48b7-bc10-b1590a457daa" providerId="ADAL" clId="{E13F79B4-0883-43B3-A8C1-4B35340FEE2D}" dt="2022-08-10T13:45:26.837" v="2914" actId="14100"/>
        <pc:sldMkLst>
          <pc:docMk/>
          <pc:sldMk cId="3290839853" sldId="356"/>
        </pc:sldMkLst>
        <pc:spChg chg="mod">
          <ac:chgData name="Ewen Trafford" userId="e520b4bf-a196-48b7-bc10-b1590a457daa" providerId="ADAL" clId="{E13F79B4-0883-43B3-A8C1-4B35340FEE2D}" dt="2022-08-10T13:21:05.822" v="1427" actId="20577"/>
          <ac:spMkLst>
            <pc:docMk/>
            <pc:sldMk cId="3290839853" sldId="356"/>
            <ac:spMk id="2" creationId="{C0656FD1-4489-F55F-822B-620888FD55A9}"/>
          </ac:spMkLst>
        </pc:spChg>
        <pc:spChg chg="mod">
          <ac:chgData name="Ewen Trafford" userId="e520b4bf-a196-48b7-bc10-b1590a457daa" providerId="ADAL" clId="{E13F79B4-0883-43B3-A8C1-4B35340FEE2D}" dt="2022-08-10T13:45:26.837" v="2914" actId="14100"/>
          <ac:spMkLst>
            <pc:docMk/>
            <pc:sldMk cId="3290839853" sldId="356"/>
            <ac:spMk id="6" creationId="{37F21B2D-0E3B-42DC-85A8-4511EB39D461}"/>
          </ac:spMkLst>
        </pc:spChg>
        <pc:picChg chg="del">
          <ac:chgData name="Ewen Trafford" userId="e520b4bf-a196-48b7-bc10-b1590a457daa" providerId="ADAL" clId="{E13F79B4-0883-43B3-A8C1-4B35340FEE2D}" dt="2022-08-10T13:23:06.821" v="1523" actId="478"/>
          <ac:picMkLst>
            <pc:docMk/>
            <pc:sldMk cId="3290839853" sldId="356"/>
            <ac:picMk id="4" creationId="{008E8A00-EB05-09AA-30F4-179B0E9CA022}"/>
          </ac:picMkLst>
        </pc:picChg>
        <pc:picChg chg="add mod">
          <ac:chgData name="Ewen Trafford" userId="e520b4bf-a196-48b7-bc10-b1590a457daa" providerId="ADAL" clId="{E13F79B4-0883-43B3-A8C1-4B35340FEE2D}" dt="2022-08-10T13:23:14.189" v="1524"/>
          <ac:picMkLst>
            <pc:docMk/>
            <pc:sldMk cId="3290839853" sldId="356"/>
            <ac:picMk id="5" creationId="{AD901ADD-240C-57E8-98F3-7F1CA8AABF11}"/>
          </ac:picMkLst>
        </pc:picChg>
        <pc:picChg chg="add mod">
          <ac:chgData name="Ewen Trafford" userId="e520b4bf-a196-48b7-bc10-b1590a457daa" providerId="ADAL" clId="{E13F79B4-0883-43B3-A8C1-4B35340FEE2D}" dt="2022-08-10T13:23:14.189" v="1524"/>
          <ac:picMkLst>
            <pc:docMk/>
            <pc:sldMk cId="3290839853" sldId="356"/>
            <ac:picMk id="7" creationId="{44EFA478-EBC2-CA8F-E9A8-13187ACDE98D}"/>
          </ac:picMkLst>
        </pc:picChg>
      </pc:sldChg>
      <pc:sldChg chg="modSp add del mod">
        <pc:chgData name="Ewen Trafford" userId="e520b4bf-a196-48b7-bc10-b1590a457daa" providerId="ADAL" clId="{E13F79B4-0883-43B3-A8C1-4B35340FEE2D}" dt="2022-08-10T13:22:37.317" v="1520" actId="2696"/>
        <pc:sldMkLst>
          <pc:docMk/>
          <pc:sldMk cId="990873275" sldId="357"/>
        </pc:sldMkLst>
        <pc:graphicFrameChg chg="modGraphic">
          <ac:chgData name="Ewen Trafford" userId="e520b4bf-a196-48b7-bc10-b1590a457daa" providerId="ADAL" clId="{E13F79B4-0883-43B3-A8C1-4B35340FEE2D}" dt="2022-08-10T13:22:32.609" v="1519" actId="20577"/>
          <ac:graphicFrameMkLst>
            <pc:docMk/>
            <pc:sldMk cId="990873275" sldId="357"/>
            <ac:graphicFrameMk id="4" creationId="{852C40F4-3A0C-2C57-5C1A-53EF072895F3}"/>
          </ac:graphicFrameMkLst>
        </pc:graphicFrameChg>
      </pc:sldChg>
      <pc:sldChg chg="addSp delSp modSp new mod ord">
        <pc:chgData name="Ewen Trafford" userId="e520b4bf-a196-48b7-bc10-b1590a457daa" providerId="ADAL" clId="{E13F79B4-0883-43B3-A8C1-4B35340FEE2D}" dt="2022-08-10T14:42:19.806" v="4165" actId="33524"/>
        <pc:sldMkLst>
          <pc:docMk/>
          <pc:sldMk cId="2721701984" sldId="357"/>
        </pc:sldMkLst>
        <pc:spChg chg="mod">
          <ac:chgData name="Ewen Trafford" userId="e520b4bf-a196-48b7-bc10-b1590a457daa" providerId="ADAL" clId="{E13F79B4-0883-43B3-A8C1-4B35340FEE2D}" dt="2022-08-10T14:37:30.689" v="3788" actId="1076"/>
          <ac:spMkLst>
            <pc:docMk/>
            <pc:sldMk cId="2721701984" sldId="357"/>
            <ac:spMk id="2" creationId="{40BE7EE5-0E3D-D184-B65F-84EC76213A72}"/>
          </ac:spMkLst>
        </pc:spChg>
        <pc:spChg chg="del">
          <ac:chgData name="Ewen Trafford" userId="e520b4bf-a196-48b7-bc10-b1590a457daa" providerId="ADAL" clId="{E13F79B4-0883-43B3-A8C1-4B35340FEE2D}" dt="2022-08-10T13:56:29.393" v="3135" actId="478"/>
          <ac:spMkLst>
            <pc:docMk/>
            <pc:sldMk cId="2721701984" sldId="357"/>
            <ac:spMk id="3" creationId="{5A39FDF3-B43E-ACF8-4D7C-5071D9723BC3}"/>
          </ac:spMkLst>
        </pc:spChg>
        <pc:spChg chg="add mod">
          <ac:chgData name="Ewen Trafford" userId="e520b4bf-a196-48b7-bc10-b1590a457daa" providerId="ADAL" clId="{E13F79B4-0883-43B3-A8C1-4B35340FEE2D}" dt="2022-08-10T14:28:47.119" v="3339" actId="164"/>
          <ac:spMkLst>
            <pc:docMk/>
            <pc:sldMk cId="2721701984" sldId="357"/>
            <ac:spMk id="6" creationId="{C11DFE88-A5B5-3512-E3FD-097C14EE3C80}"/>
          </ac:spMkLst>
        </pc:spChg>
        <pc:spChg chg="add mod">
          <ac:chgData name="Ewen Trafford" userId="e520b4bf-a196-48b7-bc10-b1590a457daa" providerId="ADAL" clId="{E13F79B4-0883-43B3-A8C1-4B35340FEE2D}" dt="2022-08-10T14:28:50.316" v="3340" actId="164"/>
          <ac:spMkLst>
            <pc:docMk/>
            <pc:sldMk cId="2721701984" sldId="357"/>
            <ac:spMk id="7" creationId="{93512A55-86E9-9E26-86D7-53817DBAE6EC}"/>
          </ac:spMkLst>
        </pc:spChg>
        <pc:spChg chg="add mod">
          <ac:chgData name="Ewen Trafford" userId="e520b4bf-a196-48b7-bc10-b1590a457daa" providerId="ADAL" clId="{E13F79B4-0883-43B3-A8C1-4B35340FEE2D}" dt="2022-08-10T14:28:57.245" v="3342" actId="164"/>
          <ac:spMkLst>
            <pc:docMk/>
            <pc:sldMk cId="2721701984" sldId="357"/>
            <ac:spMk id="8" creationId="{16BDBC5C-67BD-A380-2934-D3FECF454C6E}"/>
          </ac:spMkLst>
        </pc:spChg>
        <pc:spChg chg="add mod">
          <ac:chgData name="Ewen Trafford" userId="e520b4bf-a196-48b7-bc10-b1590a457daa" providerId="ADAL" clId="{E13F79B4-0883-43B3-A8C1-4B35340FEE2D}" dt="2022-08-10T14:28:53.898" v="3341" actId="164"/>
          <ac:spMkLst>
            <pc:docMk/>
            <pc:sldMk cId="2721701984" sldId="357"/>
            <ac:spMk id="9" creationId="{92FB7C94-E1D6-7340-F330-AA7DC17493EB}"/>
          </ac:spMkLst>
        </pc:spChg>
        <pc:spChg chg="add mod">
          <ac:chgData name="Ewen Trafford" userId="e520b4bf-a196-48b7-bc10-b1590a457daa" providerId="ADAL" clId="{E13F79B4-0883-43B3-A8C1-4B35340FEE2D}" dt="2022-08-10T14:28:47.119" v="3339" actId="164"/>
          <ac:spMkLst>
            <pc:docMk/>
            <pc:sldMk cId="2721701984" sldId="357"/>
            <ac:spMk id="10" creationId="{96D309F4-9C00-E12D-51D2-90BF4BF70A98}"/>
          </ac:spMkLst>
        </pc:spChg>
        <pc:spChg chg="add mod">
          <ac:chgData name="Ewen Trafford" userId="e520b4bf-a196-48b7-bc10-b1590a457daa" providerId="ADAL" clId="{E13F79B4-0883-43B3-A8C1-4B35340FEE2D}" dt="2022-08-10T14:28:50.316" v="3340" actId="164"/>
          <ac:spMkLst>
            <pc:docMk/>
            <pc:sldMk cId="2721701984" sldId="357"/>
            <ac:spMk id="11" creationId="{65232A8F-66BC-EDAA-6D18-6AB3FA303C46}"/>
          </ac:spMkLst>
        </pc:spChg>
        <pc:spChg chg="add mod">
          <ac:chgData name="Ewen Trafford" userId="e520b4bf-a196-48b7-bc10-b1590a457daa" providerId="ADAL" clId="{E13F79B4-0883-43B3-A8C1-4B35340FEE2D}" dt="2022-08-10T14:28:50.316" v="3340" actId="164"/>
          <ac:spMkLst>
            <pc:docMk/>
            <pc:sldMk cId="2721701984" sldId="357"/>
            <ac:spMk id="12" creationId="{3C4CDF19-496C-796D-2D56-0E103D7F2255}"/>
          </ac:spMkLst>
        </pc:spChg>
        <pc:spChg chg="add mod">
          <ac:chgData name="Ewen Trafford" userId="e520b4bf-a196-48b7-bc10-b1590a457daa" providerId="ADAL" clId="{E13F79B4-0883-43B3-A8C1-4B35340FEE2D}" dt="2022-08-10T14:28:50.316" v="3340" actId="164"/>
          <ac:spMkLst>
            <pc:docMk/>
            <pc:sldMk cId="2721701984" sldId="357"/>
            <ac:spMk id="13" creationId="{59812AD7-4614-1ECA-4F04-371200CFC572}"/>
          </ac:spMkLst>
        </pc:spChg>
        <pc:spChg chg="add mod">
          <ac:chgData name="Ewen Trafford" userId="e520b4bf-a196-48b7-bc10-b1590a457daa" providerId="ADAL" clId="{E13F79B4-0883-43B3-A8C1-4B35340FEE2D}" dt="2022-08-10T14:28:50.316" v="3340" actId="164"/>
          <ac:spMkLst>
            <pc:docMk/>
            <pc:sldMk cId="2721701984" sldId="357"/>
            <ac:spMk id="14" creationId="{DC7F7990-E919-5B95-60E4-13CFFD82AF8F}"/>
          </ac:spMkLst>
        </pc:spChg>
        <pc:spChg chg="add mod">
          <ac:chgData name="Ewen Trafford" userId="e520b4bf-a196-48b7-bc10-b1590a457daa" providerId="ADAL" clId="{E13F79B4-0883-43B3-A8C1-4B35340FEE2D}" dt="2022-08-10T14:28:50.316" v="3340" actId="164"/>
          <ac:spMkLst>
            <pc:docMk/>
            <pc:sldMk cId="2721701984" sldId="357"/>
            <ac:spMk id="15" creationId="{12B76D06-5D62-3D02-295E-30F8BE47E9D0}"/>
          </ac:spMkLst>
        </pc:spChg>
        <pc:spChg chg="add mod">
          <ac:chgData name="Ewen Trafford" userId="e520b4bf-a196-48b7-bc10-b1590a457daa" providerId="ADAL" clId="{E13F79B4-0883-43B3-A8C1-4B35340FEE2D}" dt="2022-08-10T14:28:50.316" v="3340" actId="164"/>
          <ac:spMkLst>
            <pc:docMk/>
            <pc:sldMk cId="2721701984" sldId="357"/>
            <ac:spMk id="16" creationId="{AF9E440C-39B7-64C5-70EC-75487CCBC529}"/>
          </ac:spMkLst>
        </pc:spChg>
        <pc:spChg chg="add mod">
          <ac:chgData name="Ewen Trafford" userId="e520b4bf-a196-48b7-bc10-b1590a457daa" providerId="ADAL" clId="{E13F79B4-0883-43B3-A8C1-4B35340FEE2D}" dt="2022-08-10T14:28:50.316" v="3340" actId="164"/>
          <ac:spMkLst>
            <pc:docMk/>
            <pc:sldMk cId="2721701984" sldId="357"/>
            <ac:spMk id="17" creationId="{4FF88632-6982-B602-4595-D8E8A0D76509}"/>
          </ac:spMkLst>
        </pc:spChg>
        <pc:spChg chg="add mod">
          <ac:chgData name="Ewen Trafford" userId="e520b4bf-a196-48b7-bc10-b1590a457daa" providerId="ADAL" clId="{E13F79B4-0883-43B3-A8C1-4B35340FEE2D}" dt="2022-08-10T14:28:50.316" v="3340" actId="164"/>
          <ac:spMkLst>
            <pc:docMk/>
            <pc:sldMk cId="2721701984" sldId="357"/>
            <ac:spMk id="18" creationId="{3BFD002F-825C-A37D-2FDE-DEC5C6B3A770}"/>
          </ac:spMkLst>
        </pc:spChg>
        <pc:spChg chg="add mod">
          <ac:chgData name="Ewen Trafford" userId="e520b4bf-a196-48b7-bc10-b1590a457daa" providerId="ADAL" clId="{E13F79B4-0883-43B3-A8C1-4B35340FEE2D}" dt="2022-08-10T14:28:50.316" v="3340" actId="164"/>
          <ac:spMkLst>
            <pc:docMk/>
            <pc:sldMk cId="2721701984" sldId="357"/>
            <ac:spMk id="19" creationId="{54BAE71C-2426-90EF-847B-545D7396D632}"/>
          </ac:spMkLst>
        </pc:spChg>
        <pc:spChg chg="add mod">
          <ac:chgData name="Ewen Trafford" userId="e520b4bf-a196-48b7-bc10-b1590a457daa" providerId="ADAL" clId="{E13F79B4-0883-43B3-A8C1-4B35340FEE2D}" dt="2022-08-10T14:28:50.316" v="3340" actId="164"/>
          <ac:spMkLst>
            <pc:docMk/>
            <pc:sldMk cId="2721701984" sldId="357"/>
            <ac:spMk id="20" creationId="{494BB22C-148C-4FFC-DE6A-0B7ED15F6BCA}"/>
          </ac:spMkLst>
        </pc:spChg>
        <pc:spChg chg="add mod">
          <ac:chgData name="Ewen Trafford" userId="e520b4bf-a196-48b7-bc10-b1590a457daa" providerId="ADAL" clId="{E13F79B4-0883-43B3-A8C1-4B35340FEE2D}" dt="2022-08-10T14:28:50.316" v="3340" actId="164"/>
          <ac:spMkLst>
            <pc:docMk/>
            <pc:sldMk cId="2721701984" sldId="357"/>
            <ac:spMk id="21" creationId="{759758EB-E52D-7521-32D6-6A229E856434}"/>
          </ac:spMkLst>
        </pc:spChg>
        <pc:spChg chg="add mod">
          <ac:chgData name="Ewen Trafford" userId="e520b4bf-a196-48b7-bc10-b1590a457daa" providerId="ADAL" clId="{E13F79B4-0883-43B3-A8C1-4B35340FEE2D}" dt="2022-08-10T14:28:50.316" v="3340" actId="164"/>
          <ac:spMkLst>
            <pc:docMk/>
            <pc:sldMk cId="2721701984" sldId="357"/>
            <ac:spMk id="22" creationId="{25532138-7EF0-780B-3F78-89A13D93284A}"/>
          </ac:spMkLst>
        </pc:spChg>
        <pc:spChg chg="add mod">
          <ac:chgData name="Ewen Trafford" userId="e520b4bf-a196-48b7-bc10-b1590a457daa" providerId="ADAL" clId="{E13F79B4-0883-43B3-A8C1-4B35340FEE2D}" dt="2022-08-10T14:28:50.316" v="3340" actId="164"/>
          <ac:spMkLst>
            <pc:docMk/>
            <pc:sldMk cId="2721701984" sldId="357"/>
            <ac:spMk id="23" creationId="{5403E1FA-34CE-256D-9A8D-590A4CB3C5E9}"/>
          </ac:spMkLst>
        </pc:spChg>
        <pc:spChg chg="add mod">
          <ac:chgData name="Ewen Trafford" userId="e520b4bf-a196-48b7-bc10-b1590a457daa" providerId="ADAL" clId="{E13F79B4-0883-43B3-A8C1-4B35340FEE2D}" dt="2022-08-10T14:28:50.316" v="3340" actId="164"/>
          <ac:spMkLst>
            <pc:docMk/>
            <pc:sldMk cId="2721701984" sldId="357"/>
            <ac:spMk id="24" creationId="{3BF1EF7E-AE32-5D24-8EBF-65FD24CC6E83}"/>
          </ac:spMkLst>
        </pc:spChg>
        <pc:spChg chg="add mod">
          <ac:chgData name="Ewen Trafford" userId="e520b4bf-a196-48b7-bc10-b1590a457daa" providerId="ADAL" clId="{E13F79B4-0883-43B3-A8C1-4B35340FEE2D}" dt="2022-08-10T14:28:50.316" v="3340" actId="164"/>
          <ac:spMkLst>
            <pc:docMk/>
            <pc:sldMk cId="2721701984" sldId="357"/>
            <ac:spMk id="25" creationId="{C7F80CB5-36D8-84CB-AD0D-619C4C82E895}"/>
          </ac:spMkLst>
        </pc:spChg>
        <pc:spChg chg="add mod">
          <ac:chgData name="Ewen Trafford" userId="e520b4bf-a196-48b7-bc10-b1590a457daa" providerId="ADAL" clId="{E13F79B4-0883-43B3-A8C1-4B35340FEE2D}" dt="2022-08-10T14:28:53.898" v="3341" actId="164"/>
          <ac:spMkLst>
            <pc:docMk/>
            <pc:sldMk cId="2721701984" sldId="357"/>
            <ac:spMk id="26" creationId="{06F740CE-AEB2-B2E9-8A2E-05973AEDE896}"/>
          </ac:spMkLst>
        </pc:spChg>
        <pc:spChg chg="add mod">
          <ac:chgData name="Ewen Trafford" userId="e520b4bf-a196-48b7-bc10-b1590a457daa" providerId="ADAL" clId="{E13F79B4-0883-43B3-A8C1-4B35340FEE2D}" dt="2022-08-10T14:28:53.898" v="3341" actId="164"/>
          <ac:spMkLst>
            <pc:docMk/>
            <pc:sldMk cId="2721701984" sldId="357"/>
            <ac:spMk id="27" creationId="{DC756927-4221-57A3-C303-E784728E87A5}"/>
          </ac:spMkLst>
        </pc:spChg>
        <pc:spChg chg="add mod">
          <ac:chgData name="Ewen Trafford" userId="e520b4bf-a196-48b7-bc10-b1590a457daa" providerId="ADAL" clId="{E13F79B4-0883-43B3-A8C1-4B35340FEE2D}" dt="2022-08-10T14:28:53.898" v="3341" actId="164"/>
          <ac:spMkLst>
            <pc:docMk/>
            <pc:sldMk cId="2721701984" sldId="357"/>
            <ac:spMk id="28" creationId="{5BC4F124-56EB-A427-3262-320AE1CF42F5}"/>
          </ac:spMkLst>
        </pc:spChg>
        <pc:spChg chg="add mod">
          <ac:chgData name="Ewen Trafford" userId="e520b4bf-a196-48b7-bc10-b1590a457daa" providerId="ADAL" clId="{E13F79B4-0883-43B3-A8C1-4B35340FEE2D}" dt="2022-08-10T14:28:53.898" v="3341" actId="164"/>
          <ac:spMkLst>
            <pc:docMk/>
            <pc:sldMk cId="2721701984" sldId="357"/>
            <ac:spMk id="29" creationId="{01566755-96A0-A2FB-DCAB-091D7FFF6F53}"/>
          </ac:spMkLst>
        </pc:spChg>
        <pc:spChg chg="add mod">
          <ac:chgData name="Ewen Trafford" userId="e520b4bf-a196-48b7-bc10-b1590a457daa" providerId="ADAL" clId="{E13F79B4-0883-43B3-A8C1-4B35340FEE2D}" dt="2022-08-10T14:28:53.898" v="3341" actId="164"/>
          <ac:spMkLst>
            <pc:docMk/>
            <pc:sldMk cId="2721701984" sldId="357"/>
            <ac:spMk id="30" creationId="{F4FFA48B-C149-2837-98F6-B622BFD2F19C}"/>
          </ac:spMkLst>
        </pc:spChg>
        <pc:spChg chg="add mod">
          <ac:chgData name="Ewen Trafford" userId="e520b4bf-a196-48b7-bc10-b1590a457daa" providerId="ADAL" clId="{E13F79B4-0883-43B3-A8C1-4B35340FEE2D}" dt="2022-08-10T14:28:53.898" v="3341" actId="164"/>
          <ac:spMkLst>
            <pc:docMk/>
            <pc:sldMk cId="2721701984" sldId="357"/>
            <ac:spMk id="31" creationId="{23F56C72-175D-69B2-E36C-6A515672A70F}"/>
          </ac:spMkLst>
        </pc:spChg>
        <pc:spChg chg="add mod">
          <ac:chgData name="Ewen Trafford" userId="e520b4bf-a196-48b7-bc10-b1590a457daa" providerId="ADAL" clId="{E13F79B4-0883-43B3-A8C1-4B35340FEE2D}" dt="2022-08-10T14:28:53.898" v="3341" actId="164"/>
          <ac:spMkLst>
            <pc:docMk/>
            <pc:sldMk cId="2721701984" sldId="357"/>
            <ac:spMk id="32" creationId="{42B56E80-8D53-B8AA-3446-180E4CC9C98E}"/>
          </ac:spMkLst>
        </pc:spChg>
        <pc:spChg chg="add mod">
          <ac:chgData name="Ewen Trafford" userId="e520b4bf-a196-48b7-bc10-b1590a457daa" providerId="ADAL" clId="{E13F79B4-0883-43B3-A8C1-4B35340FEE2D}" dt="2022-08-10T14:28:53.898" v="3341" actId="164"/>
          <ac:spMkLst>
            <pc:docMk/>
            <pc:sldMk cId="2721701984" sldId="357"/>
            <ac:spMk id="33" creationId="{2F8BE814-F736-05D3-3A61-22AE42F5700C}"/>
          </ac:spMkLst>
        </pc:spChg>
        <pc:spChg chg="add mod">
          <ac:chgData name="Ewen Trafford" userId="e520b4bf-a196-48b7-bc10-b1590a457daa" providerId="ADAL" clId="{E13F79B4-0883-43B3-A8C1-4B35340FEE2D}" dt="2022-08-10T14:28:53.898" v="3341" actId="164"/>
          <ac:spMkLst>
            <pc:docMk/>
            <pc:sldMk cId="2721701984" sldId="357"/>
            <ac:spMk id="34" creationId="{154753D8-C294-5721-1C6A-D6329369FE45}"/>
          </ac:spMkLst>
        </pc:spChg>
        <pc:spChg chg="add mod">
          <ac:chgData name="Ewen Trafford" userId="e520b4bf-a196-48b7-bc10-b1590a457daa" providerId="ADAL" clId="{E13F79B4-0883-43B3-A8C1-4B35340FEE2D}" dt="2022-08-10T14:28:53.898" v="3341" actId="164"/>
          <ac:spMkLst>
            <pc:docMk/>
            <pc:sldMk cId="2721701984" sldId="357"/>
            <ac:spMk id="35" creationId="{248914E1-83B5-B085-4231-CE1B475B30B1}"/>
          </ac:spMkLst>
        </pc:spChg>
        <pc:spChg chg="add mod">
          <ac:chgData name="Ewen Trafford" userId="e520b4bf-a196-48b7-bc10-b1590a457daa" providerId="ADAL" clId="{E13F79B4-0883-43B3-A8C1-4B35340FEE2D}" dt="2022-08-10T14:28:53.898" v="3341" actId="164"/>
          <ac:spMkLst>
            <pc:docMk/>
            <pc:sldMk cId="2721701984" sldId="357"/>
            <ac:spMk id="36" creationId="{A9150E0A-911C-78EE-B0EB-09E71A02650B}"/>
          </ac:spMkLst>
        </pc:spChg>
        <pc:spChg chg="add mod">
          <ac:chgData name="Ewen Trafford" userId="e520b4bf-a196-48b7-bc10-b1590a457daa" providerId="ADAL" clId="{E13F79B4-0883-43B3-A8C1-4B35340FEE2D}" dt="2022-08-10T14:28:53.898" v="3341" actId="164"/>
          <ac:spMkLst>
            <pc:docMk/>
            <pc:sldMk cId="2721701984" sldId="357"/>
            <ac:spMk id="37" creationId="{3D7F3314-CF6D-2F0E-B392-51108D3BC0B2}"/>
          </ac:spMkLst>
        </pc:spChg>
        <pc:spChg chg="add mod">
          <ac:chgData name="Ewen Trafford" userId="e520b4bf-a196-48b7-bc10-b1590a457daa" providerId="ADAL" clId="{E13F79B4-0883-43B3-A8C1-4B35340FEE2D}" dt="2022-08-10T14:28:53.898" v="3341" actId="164"/>
          <ac:spMkLst>
            <pc:docMk/>
            <pc:sldMk cId="2721701984" sldId="357"/>
            <ac:spMk id="38" creationId="{7DF30E5B-FB9F-097C-7ADF-F051AEFC0943}"/>
          </ac:spMkLst>
        </pc:spChg>
        <pc:spChg chg="add mod">
          <ac:chgData name="Ewen Trafford" userId="e520b4bf-a196-48b7-bc10-b1590a457daa" providerId="ADAL" clId="{E13F79B4-0883-43B3-A8C1-4B35340FEE2D}" dt="2022-08-10T14:28:53.898" v="3341" actId="164"/>
          <ac:spMkLst>
            <pc:docMk/>
            <pc:sldMk cId="2721701984" sldId="357"/>
            <ac:spMk id="39" creationId="{DB51EEFC-8B7B-84C1-D6DC-FD55C3599C7E}"/>
          </ac:spMkLst>
        </pc:spChg>
        <pc:spChg chg="add mod">
          <ac:chgData name="Ewen Trafford" userId="e520b4bf-a196-48b7-bc10-b1590a457daa" providerId="ADAL" clId="{E13F79B4-0883-43B3-A8C1-4B35340FEE2D}" dt="2022-08-10T14:28:53.898" v="3341" actId="164"/>
          <ac:spMkLst>
            <pc:docMk/>
            <pc:sldMk cId="2721701984" sldId="357"/>
            <ac:spMk id="40" creationId="{80D47833-3D01-DB73-E6F3-64EEF9BB3432}"/>
          </ac:spMkLst>
        </pc:spChg>
        <pc:spChg chg="add mod">
          <ac:chgData name="Ewen Trafford" userId="e520b4bf-a196-48b7-bc10-b1590a457daa" providerId="ADAL" clId="{E13F79B4-0883-43B3-A8C1-4B35340FEE2D}" dt="2022-08-10T14:28:53.898" v="3341" actId="164"/>
          <ac:spMkLst>
            <pc:docMk/>
            <pc:sldMk cId="2721701984" sldId="357"/>
            <ac:spMk id="41" creationId="{30333F8C-36E4-CFD3-8926-FE01CC5D8380}"/>
          </ac:spMkLst>
        </pc:spChg>
        <pc:spChg chg="add mod">
          <ac:chgData name="Ewen Trafford" userId="e520b4bf-a196-48b7-bc10-b1590a457daa" providerId="ADAL" clId="{E13F79B4-0883-43B3-A8C1-4B35340FEE2D}" dt="2022-08-10T14:28:53.898" v="3341" actId="164"/>
          <ac:spMkLst>
            <pc:docMk/>
            <pc:sldMk cId="2721701984" sldId="357"/>
            <ac:spMk id="42" creationId="{60B92943-87FB-3DD9-9DE8-453DD1B8AEB7}"/>
          </ac:spMkLst>
        </pc:spChg>
        <pc:spChg chg="add mod">
          <ac:chgData name="Ewen Trafford" userId="e520b4bf-a196-48b7-bc10-b1590a457daa" providerId="ADAL" clId="{E13F79B4-0883-43B3-A8C1-4B35340FEE2D}" dt="2022-08-10T14:28:57.245" v="3342" actId="164"/>
          <ac:spMkLst>
            <pc:docMk/>
            <pc:sldMk cId="2721701984" sldId="357"/>
            <ac:spMk id="43" creationId="{6D04648C-19C5-DD0B-EDF9-28361F5D5864}"/>
          </ac:spMkLst>
        </pc:spChg>
        <pc:spChg chg="add mod">
          <ac:chgData name="Ewen Trafford" userId="e520b4bf-a196-48b7-bc10-b1590a457daa" providerId="ADAL" clId="{E13F79B4-0883-43B3-A8C1-4B35340FEE2D}" dt="2022-08-10T14:28:57.245" v="3342" actId="164"/>
          <ac:spMkLst>
            <pc:docMk/>
            <pc:sldMk cId="2721701984" sldId="357"/>
            <ac:spMk id="44" creationId="{F4EF4F43-C3A6-5715-D315-7B755013F805}"/>
          </ac:spMkLst>
        </pc:spChg>
        <pc:spChg chg="add mod">
          <ac:chgData name="Ewen Trafford" userId="e520b4bf-a196-48b7-bc10-b1590a457daa" providerId="ADAL" clId="{E13F79B4-0883-43B3-A8C1-4B35340FEE2D}" dt="2022-08-10T14:28:57.245" v="3342" actId="164"/>
          <ac:spMkLst>
            <pc:docMk/>
            <pc:sldMk cId="2721701984" sldId="357"/>
            <ac:spMk id="45" creationId="{11FD4957-B665-D018-5E3D-F0936A23CC7A}"/>
          </ac:spMkLst>
        </pc:spChg>
        <pc:spChg chg="add mod">
          <ac:chgData name="Ewen Trafford" userId="e520b4bf-a196-48b7-bc10-b1590a457daa" providerId="ADAL" clId="{E13F79B4-0883-43B3-A8C1-4B35340FEE2D}" dt="2022-08-10T14:28:57.245" v="3342" actId="164"/>
          <ac:spMkLst>
            <pc:docMk/>
            <pc:sldMk cId="2721701984" sldId="357"/>
            <ac:spMk id="46" creationId="{A2911EC9-D3FB-4CE5-914A-7662C8918D59}"/>
          </ac:spMkLst>
        </pc:spChg>
        <pc:spChg chg="add mod">
          <ac:chgData name="Ewen Trafford" userId="e520b4bf-a196-48b7-bc10-b1590a457daa" providerId="ADAL" clId="{E13F79B4-0883-43B3-A8C1-4B35340FEE2D}" dt="2022-08-10T14:28:57.245" v="3342" actId="164"/>
          <ac:spMkLst>
            <pc:docMk/>
            <pc:sldMk cId="2721701984" sldId="357"/>
            <ac:spMk id="47" creationId="{37A2FDD7-3AA9-FD8E-8995-412EDF4DBDB7}"/>
          </ac:spMkLst>
        </pc:spChg>
        <pc:spChg chg="add mod">
          <ac:chgData name="Ewen Trafford" userId="e520b4bf-a196-48b7-bc10-b1590a457daa" providerId="ADAL" clId="{E13F79B4-0883-43B3-A8C1-4B35340FEE2D}" dt="2022-08-10T14:28:57.245" v="3342" actId="164"/>
          <ac:spMkLst>
            <pc:docMk/>
            <pc:sldMk cId="2721701984" sldId="357"/>
            <ac:spMk id="48" creationId="{46ADE1BA-3A37-FF53-7F55-1707B8574D0C}"/>
          </ac:spMkLst>
        </pc:spChg>
        <pc:spChg chg="add mod">
          <ac:chgData name="Ewen Trafford" userId="e520b4bf-a196-48b7-bc10-b1590a457daa" providerId="ADAL" clId="{E13F79B4-0883-43B3-A8C1-4B35340FEE2D}" dt="2022-08-10T14:28:57.245" v="3342" actId="164"/>
          <ac:spMkLst>
            <pc:docMk/>
            <pc:sldMk cId="2721701984" sldId="357"/>
            <ac:spMk id="49" creationId="{6A94EA1C-AA6E-87C4-6D50-924BE1B97D63}"/>
          </ac:spMkLst>
        </pc:spChg>
        <pc:spChg chg="add mod">
          <ac:chgData name="Ewen Trafford" userId="e520b4bf-a196-48b7-bc10-b1590a457daa" providerId="ADAL" clId="{E13F79B4-0883-43B3-A8C1-4B35340FEE2D}" dt="2022-08-10T14:28:57.245" v="3342" actId="164"/>
          <ac:spMkLst>
            <pc:docMk/>
            <pc:sldMk cId="2721701984" sldId="357"/>
            <ac:spMk id="50" creationId="{E3784671-F1BD-AA9C-921F-5F73A932C014}"/>
          </ac:spMkLst>
        </pc:spChg>
        <pc:spChg chg="add mod">
          <ac:chgData name="Ewen Trafford" userId="e520b4bf-a196-48b7-bc10-b1590a457daa" providerId="ADAL" clId="{E13F79B4-0883-43B3-A8C1-4B35340FEE2D}" dt="2022-08-10T14:28:57.245" v="3342" actId="164"/>
          <ac:spMkLst>
            <pc:docMk/>
            <pc:sldMk cId="2721701984" sldId="357"/>
            <ac:spMk id="51" creationId="{A798C81F-8CFA-9D94-9101-43E8027E3678}"/>
          </ac:spMkLst>
        </pc:spChg>
        <pc:spChg chg="add mod">
          <ac:chgData name="Ewen Trafford" userId="e520b4bf-a196-48b7-bc10-b1590a457daa" providerId="ADAL" clId="{E13F79B4-0883-43B3-A8C1-4B35340FEE2D}" dt="2022-08-10T14:28:57.245" v="3342" actId="164"/>
          <ac:spMkLst>
            <pc:docMk/>
            <pc:sldMk cId="2721701984" sldId="357"/>
            <ac:spMk id="52" creationId="{2737AB18-6C02-ECCA-754A-CAA77F779044}"/>
          </ac:spMkLst>
        </pc:spChg>
        <pc:spChg chg="add mod">
          <ac:chgData name="Ewen Trafford" userId="e520b4bf-a196-48b7-bc10-b1590a457daa" providerId="ADAL" clId="{E13F79B4-0883-43B3-A8C1-4B35340FEE2D}" dt="2022-08-10T14:28:57.245" v="3342" actId="164"/>
          <ac:spMkLst>
            <pc:docMk/>
            <pc:sldMk cId="2721701984" sldId="357"/>
            <ac:spMk id="53" creationId="{0CF6BAC6-9A09-5DE4-8CCC-94E94130E082}"/>
          </ac:spMkLst>
        </pc:spChg>
        <pc:spChg chg="add mod">
          <ac:chgData name="Ewen Trafford" userId="e520b4bf-a196-48b7-bc10-b1590a457daa" providerId="ADAL" clId="{E13F79B4-0883-43B3-A8C1-4B35340FEE2D}" dt="2022-08-10T14:28:57.245" v="3342" actId="164"/>
          <ac:spMkLst>
            <pc:docMk/>
            <pc:sldMk cId="2721701984" sldId="357"/>
            <ac:spMk id="54" creationId="{820032F0-5998-E3DC-869E-9A1EF67169B5}"/>
          </ac:spMkLst>
        </pc:spChg>
        <pc:spChg chg="add mod">
          <ac:chgData name="Ewen Trafford" userId="e520b4bf-a196-48b7-bc10-b1590a457daa" providerId="ADAL" clId="{E13F79B4-0883-43B3-A8C1-4B35340FEE2D}" dt="2022-08-10T14:28:57.245" v="3342" actId="164"/>
          <ac:spMkLst>
            <pc:docMk/>
            <pc:sldMk cId="2721701984" sldId="357"/>
            <ac:spMk id="55" creationId="{FCF0BE03-DDA1-AC0A-C9D8-6666918BD30A}"/>
          </ac:spMkLst>
        </pc:spChg>
        <pc:spChg chg="add mod">
          <ac:chgData name="Ewen Trafford" userId="e520b4bf-a196-48b7-bc10-b1590a457daa" providerId="ADAL" clId="{E13F79B4-0883-43B3-A8C1-4B35340FEE2D}" dt="2022-08-10T14:28:57.245" v="3342" actId="164"/>
          <ac:spMkLst>
            <pc:docMk/>
            <pc:sldMk cId="2721701984" sldId="357"/>
            <ac:spMk id="56" creationId="{EA364B77-B6FC-A446-D7CD-EB4306AD6080}"/>
          </ac:spMkLst>
        </pc:spChg>
        <pc:spChg chg="add mod">
          <ac:chgData name="Ewen Trafford" userId="e520b4bf-a196-48b7-bc10-b1590a457daa" providerId="ADAL" clId="{E13F79B4-0883-43B3-A8C1-4B35340FEE2D}" dt="2022-08-10T14:28:57.245" v="3342" actId="164"/>
          <ac:spMkLst>
            <pc:docMk/>
            <pc:sldMk cId="2721701984" sldId="357"/>
            <ac:spMk id="57" creationId="{EA94BAB1-12B0-81A9-3F1A-60F95D92236F}"/>
          </ac:spMkLst>
        </pc:spChg>
        <pc:spChg chg="add mod">
          <ac:chgData name="Ewen Trafford" userId="e520b4bf-a196-48b7-bc10-b1590a457daa" providerId="ADAL" clId="{E13F79B4-0883-43B3-A8C1-4B35340FEE2D}" dt="2022-08-10T14:39:11.471" v="4127" actId="164"/>
          <ac:spMkLst>
            <pc:docMk/>
            <pc:sldMk cId="2721701984" sldId="357"/>
            <ac:spMk id="62" creationId="{01F049A2-BEB1-B797-5C84-30BBDD8715A9}"/>
          </ac:spMkLst>
        </pc:spChg>
        <pc:spChg chg="add mod">
          <ac:chgData name="Ewen Trafford" userId="e520b4bf-a196-48b7-bc10-b1590a457daa" providerId="ADAL" clId="{E13F79B4-0883-43B3-A8C1-4B35340FEE2D}" dt="2022-08-10T14:39:11.471" v="4127" actId="164"/>
          <ac:spMkLst>
            <pc:docMk/>
            <pc:sldMk cId="2721701984" sldId="357"/>
            <ac:spMk id="65" creationId="{9DDCF76D-E103-584A-C9D4-2048705EA6CF}"/>
          </ac:spMkLst>
        </pc:spChg>
        <pc:spChg chg="add mod">
          <ac:chgData name="Ewen Trafford" userId="e520b4bf-a196-48b7-bc10-b1590a457daa" providerId="ADAL" clId="{E13F79B4-0883-43B3-A8C1-4B35340FEE2D}" dt="2022-08-10T14:39:11.471" v="4127" actId="164"/>
          <ac:spMkLst>
            <pc:docMk/>
            <pc:sldMk cId="2721701984" sldId="357"/>
            <ac:spMk id="69" creationId="{B42920F7-634B-8642-11C3-401E2642477A}"/>
          </ac:spMkLst>
        </pc:spChg>
        <pc:spChg chg="add mod">
          <ac:chgData name="Ewen Trafford" userId="e520b4bf-a196-48b7-bc10-b1590a457daa" providerId="ADAL" clId="{E13F79B4-0883-43B3-A8C1-4B35340FEE2D}" dt="2022-08-10T14:39:11.471" v="4127" actId="164"/>
          <ac:spMkLst>
            <pc:docMk/>
            <pc:sldMk cId="2721701984" sldId="357"/>
            <ac:spMk id="70" creationId="{44F5DD74-C5E9-1B15-7217-D4391FD43B00}"/>
          </ac:spMkLst>
        </pc:spChg>
        <pc:spChg chg="add mod">
          <ac:chgData name="Ewen Trafford" userId="e520b4bf-a196-48b7-bc10-b1590a457daa" providerId="ADAL" clId="{E13F79B4-0883-43B3-A8C1-4B35340FEE2D}" dt="2022-08-10T14:39:11.471" v="4127" actId="164"/>
          <ac:spMkLst>
            <pc:docMk/>
            <pc:sldMk cId="2721701984" sldId="357"/>
            <ac:spMk id="71" creationId="{B9DDFC79-5752-15E5-37C0-B0C2D4C55735}"/>
          </ac:spMkLst>
        </pc:spChg>
        <pc:spChg chg="add mod">
          <ac:chgData name="Ewen Trafford" userId="e520b4bf-a196-48b7-bc10-b1590a457daa" providerId="ADAL" clId="{E13F79B4-0883-43B3-A8C1-4B35340FEE2D}" dt="2022-08-10T14:39:11.471" v="4127" actId="164"/>
          <ac:spMkLst>
            <pc:docMk/>
            <pc:sldMk cId="2721701984" sldId="357"/>
            <ac:spMk id="72" creationId="{A96BA419-DD06-02DC-BB1B-7CF4F7D5E897}"/>
          </ac:spMkLst>
        </pc:spChg>
        <pc:spChg chg="add mod">
          <ac:chgData name="Ewen Trafford" userId="e520b4bf-a196-48b7-bc10-b1590a457daa" providerId="ADAL" clId="{E13F79B4-0883-43B3-A8C1-4B35340FEE2D}" dt="2022-08-10T14:39:11.471" v="4127" actId="164"/>
          <ac:spMkLst>
            <pc:docMk/>
            <pc:sldMk cId="2721701984" sldId="357"/>
            <ac:spMk id="73" creationId="{19009CD7-D824-2655-104C-3069FD7D6D9E}"/>
          </ac:spMkLst>
        </pc:spChg>
        <pc:spChg chg="add mod">
          <ac:chgData name="Ewen Trafford" userId="e520b4bf-a196-48b7-bc10-b1590a457daa" providerId="ADAL" clId="{E13F79B4-0883-43B3-A8C1-4B35340FEE2D}" dt="2022-08-10T14:42:19.806" v="4165" actId="33524"/>
          <ac:spMkLst>
            <pc:docMk/>
            <pc:sldMk cId="2721701984" sldId="357"/>
            <ac:spMk id="74" creationId="{E686E7B3-08FC-88A4-8008-7F7C8CF37507}"/>
          </ac:spMkLst>
        </pc:spChg>
        <pc:spChg chg="add del mod">
          <ac:chgData name="Ewen Trafford" userId="e520b4bf-a196-48b7-bc10-b1590a457daa" providerId="ADAL" clId="{E13F79B4-0883-43B3-A8C1-4B35340FEE2D}" dt="2022-08-10T14:35:14.704" v="3725" actId="478"/>
          <ac:spMkLst>
            <pc:docMk/>
            <pc:sldMk cId="2721701984" sldId="357"/>
            <ac:spMk id="75" creationId="{B21CA87F-0087-25F8-EB3D-DBAC3059FD8E}"/>
          </ac:spMkLst>
        </pc:spChg>
        <pc:spChg chg="add del">
          <ac:chgData name="Ewen Trafford" userId="e520b4bf-a196-48b7-bc10-b1590a457daa" providerId="ADAL" clId="{E13F79B4-0883-43B3-A8C1-4B35340FEE2D}" dt="2022-08-10T14:36:23.239" v="3738" actId="478"/>
          <ac:spMkLst>
            <pc:docMk/>
            <pc:sldMk cId="2721701984" sldId="357"/>
            <ac:spMk id="81" creationId="{DB3E33A8-0C7D-E243-6B47-C4A65962A4FD}"/>
          </ac:spMkLst>
        </pc:spChg>
        <pc:spChg chg="add mod">
          <ac:chgData name="Ewen Trafford" userId="e520b4bf-a196-48b7-bc10-b1590a457daa" providerId="ADAL" clId="{E13F79B4-0883-43B3-A8C1-4B35340FEE2D}" dt="2022-08-10T14:39:11.471" v="4127" actId="164"/>
          <ac:spMkLst>
            <pc:docMk/>
            <pc:sldMk cId="2721701984" sldId="357"/>
            <ac:spMk id="82" creationId="{9CB14F38-9C18-7943-88D5-BB8DB8965C7F}"/>
          </ac:spMkLst>
        </pc:spChg>
        <pc:spChg chg="add mod">
          <ac:chgData name="Ewen Trafford" userId="e520b4bf-a196-48b7-bc10-b1590a457daa" providerId="ADAL" clId="{E13F79B4-0883-43B3-A8C1-4B35340FEE2D}" dt="2022-08-10T14:39:11.471" v="4127" actId="164"/>
          <ac:spMkLst>
            <pc:docMk/>
            <pc:sldMk cId="2721701984" sldId="357"/>
            <ac:spMk id="83" creationId="{19B88721-B6EF-DEBF-8465-A1DC49C444A9}"/>
          </ac:spMkLst>
        </pc:spChg>
        <pc:grpChg chg="add mod">
          <ac:chgData name="Ewen Trafford" userId="e520b4bf-a196-48b7-bc10-b1590a457daa" providerId="ADAL" clId="{E13F79B4-0883-43B3-A8C1-4B35340FEE2D}" dt="2022-08-10T14:39:11.471" v="4127" actId="164"/>
          <ac:grpSpMkLst>
            <pc:docMk/>
            <pc:sldMk cId="2721701984" sldId="357"/>
            <ac:grpSpMk id="58" creationId="{7C84A93E-3E25-BA19-5C4B-C7905C50DA09}"/>
          </ac:grpSpMkLst>
        </pc:grpChg>
        <pc:grpChg chg="add mod">
          <ac:chgData name="Ewen Trafford" userId="e520b4bf-a196-48b7-bc10-b1590a457daa" providerId="ADAL" clId="{E13F79B4-0883-43B3-A8C1-4B35340FEE2D}" dt="2022-08-10T14:39:11.471" v="4127" actId="164"/>
          <ac:grpSpMkLst>
            <pc:docMk/>
            <pc:sldMk cId="2721701984" sldId="357"/>
            <ac:grpSpMk id="59" creationId="{CB004C6F-6948-E8F0-2E4E-FB90AD9CE25E}"/>
          </ac:grpSpMkLst>
        </pc:grpChg>
        <pc:grpChg chg="add mod">
          <ac:chgData name="Ewen Trafford" userId="e520b4bf-a196-48b7-bc10-b1590a457daa" providerId="ADAL" clId="{E13F79B4-0883-43B3-A8C1-4B35340FEE2D}" dt="2022-08-10T14:39:11.471" v="4127" actId="164"/>
          <ac:grpSpMkLst>
            <pc:docMk/>
            <pc:sldMk cId="2721701984" sldId="357"/>
            <ac:grpSpMk id="60" creationId="{10C4216C-9AA6-9B81-9C68-7AD7B3BBD7A0}"/>
          </ac:grpSpMkLst>
        </pc:grpChg>
        <pc:grpChg chg="add mod">
          <ac:chgData name="Ewen Trafford" userId="e520b4bf-a196-48b7-bc10-b1590a457daa" providerId="ADAL" clId="{E13F79B4-0883-43B3-A8C1-4B35340FEE2D}" dt="2022-08-10T14:39:11.471" v="4127" actId="164"/>
          <ac:grpSpMkLst>
            <pc:docMk/>
            <pc:sldMk cId="2721701984" sldId="357"/>
            <ac:grpSpMk id="61" creationId="{B4155462-5751-34F8-FAF2-AB514589F677}"/>
          </ac:grpSpMkLst>
        </pc:grpChg>
        <pc:grpChg chg="add mod">
          <ac:chgData name="Ewen Trafford" userId="e520b4bf-a196-48b7-bc10-b1590a457daa" providerId="ADAL" clId="{E13F79B4-0883-43B3-A8C1-4B35340FEE2D}" dt="2022-08-10T14:39:16.325" v="4128" actId="1076"/>
          <ac:grpSpMkLst>
            <pc:docMk/>
            <pc:sldMk cId="2721701984" sldId="357"/>
            <ac:grpSpMk id="84" creationId="{C63C3BD1-D2E7-0C27-CD4D-40A3D6D53C15}"/>
          </ac:grpSpMkLst>
        </pc:grpChg>
        <pc:picChg chg="add del mod">
          <ac:chgData name="Ewen Trafford" userId="e520b4bf-a196-48b7-bc10-b1590a457daa" providerId="ADAL" clId="{E13F79B4-0883-43B3-A8C1-4B35340FEE2D}" dt="2022-08-10T13:58:03.530" v="3145" actId="21"/>
          <ac:picMkLst>
            <pc:docMk/>
            <pc:sldMk cId="2721701984" sldId="357"/>
            <ac:picMk id="4" creationId="{BE0DDDD8-C7ED-38C9-4C05-EF34B55AA8AF}"/>
          </ac:picMkLst>
        </pc:picChg>
        <pc:picChg chg="add del mod">
          <ac:chgData name="Ewen Trafford" userId="e520b4bf-a196-48b7-bc10-b1590a457daa" providerId="ADAL" clId="{E13F79B4-0883-43B3-A8C1-4B35340FEE2D}" dt="2022-08-10T13:56:34.486" v="3137" actId="478"/>
          <ac:picMkLst>
            <pc:docMk/>
            <pc:sldMk cId="2721701984" sldId="357"/>
            <ac:picMk id="5" creationId="{F7882864-DF8D-49AE-8E54-360670AD1FA4}"/>
          </ac:picMkLst>
        </pc:picChg>
        <pc:cxnChg chg="add mod">
          <ac:chgData name="Ewen Trafford" userId="e520b4bf-a196-48b7-bc10-b1590a457daa" providerId="ADAL" clId="{E13F79B4-0883-43B3-A8C1-4B35340FEE2D}" dt="2022-08-10T14:39:11.471" v="4127" actId="164"/>
          <ac:cxnSpMkLst>
            <pc:docMk/>
            <pc:sldMk cId="2721701984" sldId="357"/>
            <ac:cxnSpMk id="64" creationId="{94DFF3BD-1737-DCEA-B5CE-B61DEFDAD1B6}"/>
          </ac:cxnSpMkLst>
        </pc:cxnChg>
        <pc:cxnChg chg="add mod">
          <ac:chgData name="Ewen Trafford" userId="e520b4bf-a196-48b7-bc10-b1590a457daa" providerId="ADAL" clId="{E13F79B4-0883-43B3-A8C1-4B35340FEE2D}" dt="2022-08-10T14:39:11.471" v="4127" actId="164"/>
          <ac:cxnSpMkLst>
            <pc:docMk/>
            <pc:sldMk cId="2721701984" sldId="357"/>
            <ac:cxnSpMk id="66" creationId="{5B9D39C2-3D15-48FA-6341-67F29EFAAD83}"/>
          </ac:cxnSpMkLst>
        </pc:cxnChg>
        <pc:cxnChg chg="add mod">
          <ac:chgData name="Ewen Trafford" userId="e520b4bf-a196-48b7-bc10-b1590a457daa" providerId="ADAL" clId="{E13F79B4-0883-43B3-A8C1-4B35340FEE2D}" dt="2022-08-10T14:39:11.471" v="4127" actId="164"/>
          <ac:cxnSpMkLst>
            <pc:docMk/>
            <pc:sldMk cId="2721701984" sldId="357"/>
            <ac:cxnSpMk id="68" creationId="{D59B59F0-E8ED-E542-CFE8-57A94D49B063}"/>
          </ac:cxnSpMkLst>
        </pc:cxnChg>
        <pc:cxnChg chg="add del mod">
          <ac:chgData name="Ewen Trafford" userId="e520b4bf-a196-48b7-bc10-b1590a457daa" providerId="ADAL" clId="{E13F79B4-0883-43B3-A8C1-4B35340FEE2D}" dt="2022-08-10T14:36:09.838" v="3736" actId="478"/>
          <ac:cxnSpMkLst>
            <pc:docMk/>
            <pc:sldMk cId="2721701984" sldId="357"/>
            <ac:cxnSpMk id="77" creationId="{5D84C40D-B55C-EC79-9188-312360032FE5}"/>
          </ac:cxnSpMkLst>
        </pc:cxnChg>
      </pc:sldChg>
      <pc:sldChg chg="addSp delSp modSp add mod">
        <pc:chgData name="Ewen Trafford" userId="e520b4bf-a196-48b7-bc10-b1590a457daa" providerId="ADAL" clId="{E13F79B4-0883-43B3-A8C1-4B35340FEE2D}" dt="2022-08-12T08:50:19.313" v="4966"/>
        <pc:sldMkLst>
          <pc:docMk/>
          <pc:sldMk cId="2499852602" sldId="358"/>
        </pc:sldMkLst>
        <pc:spChg chg="mod">
          <ac:chgData name="Ewen Trafford" userId="e520b4bf-a196-48b7-bc10-b1590a457daa" providerId="ADAL" clId="{E13F79B4-0883-43B3-A8C1-4B35340FEE2D}" dt="2022-08-10T14:41:59.572" v="4158" actId="20577"/>
          <ac:spMkLst>
            <pc:docMk/>
            <pc:sldMk cId="2499852602" sldId="358"/>
            <ac:spMk id="2" creationId="{40BE7EE5-0E3D-D184-B65F-84EC76213A72}"/>
          </ac:spMkLst>
        </pc:spChg>
        <pc:spChg chg="mod">
          <ac:chgData name="Ewen Trafford" userId="e520b4bf-a196-48b7-bc10-b1590a457daa" providerId="ADAL" clId="{E13F79B4-0883-43B3-A8C1-4B35340FEE2D}" dt="2022-08-12T08:49:59.807" v="4965" actId="5793"/>
          <ac:spMkLst>
            <pc:docMk/>
            <pc:sldMk cId="2499852602" sldId="358"/>
            <ac:spMk id="74" creationId="{E686E7B3-08FC-88A4-8008-7F7C8CF37507}"/>
          </ac:spMkLst>
        </pc:spChg>
        <pc:grpChg chg="del">
          <ac:chgData name="Ewen Trafford" userId="e520b4bf-a196-48b7-bc10-b1590a457daa" providerId="ADAL" clId="{E13F79B4-0883-43B3-A8C1-4B35340FEE2D}" dt="2022-08-10T14:42:01.804" v="4159" actId="478"/>
          <ac:grpSpMkLst>
            <pc:docMk/>
            <pc:sldMk cId="2499852602" sldId="358"/>
            <ac:grpSpMk id="84" creationId="{C63C3BD1-D2E7-0C27-CD4D-40A3D6D53C15}"/>
          </ac:grpSpMkLst>
        </pc:grpChg>
        <pc:picChg chg="add mod">
          <ac:chgData name="Ewen Trafford" userId="e520b4bf-a196-48b7-bc10-b1590a457daa" providerId="ADAL" clId="{E13F79B4-0883-43B3-A8C1-4B35340FEE2D}" dt="2022-08-12T08:50:19.313" v="4966"/>
          <ac:picMkLst>
            <pc:docMk/>
            <pc:sldMk cId="2499852602" sldId="358"/>
            <ac:picMk id="3" creationId="{43F843B4-CA4E-0F28-FAFA-75E96DC4F626}"/>
          </ac:picMkLst>
        </pc:picChg>
        <pc:picChg chg="add mod">
          <ac:chgData name="Ewen Trafford" userId="e520b4bf-a196-48b7-bc10-b1590a457daa" providerId="ADAL" clId="{E13F79B4-0883-43B3-A8C1-4B35340FEE2D}" dt="2022-08-12T08:50:19.313" v="4966"/>
          <ac:picMkLst>
            <pc:docMk/>
            <pc:sldMk cId="2499852602" sldId="358"/>
            <ac:picMk id="4" creationId="{3E980B0D-4F0C-30B0-8CDF-2A7A2A747532}"/>
          </ac:picMkLst>
        </pc:picChg>
        <pc:picChg chg="add mod">
          <ac:chgData name="Ewen Trafford" userId="e520b4bf-a196-48b7-bc10-b1590a457daa" providerId="ADAL" clId="{E13F79B4-0883-43B3-A8C1-4B35340FEE2D}" dt="2022-08-12T08:50:19.313" v="4966"/>
          <ac:picMkLst>
            <pc:docMk/>
            <pc:sldMk cId="2499852602" sldId="358"/>
            <ac:picMk id="5" creationId="{DF9B87B5-7834-A5D8-887E-F345E804B238}"/>
          </ac:picMkLst>
        </pc:picChg>
      </pc:sldChg>
      <pc:sldChg chg="addSp delSp modSp add mod addCm delCm">
        <pc:chgData name="Ewen Trafford" userId="e520b4bf-a196-48b7-bc10-b1590a457daa" providerId="ADAL" clId="{E13F79B4-0883-43B3-A8C1-4B35340FEE2D}" dt="2022-08-25T08:59:21.208" v="5003"/>
        <pc:sldMkLst>
          <pc:docMk/>
          <pc:sldMk cId="4177393134" sldId="359"/>
        </pc:sldMkLst>
        <pc:spChg chg="mod">
          <ac:chgData name="Ewen Trafford" userId="e520b4bf-a196-48b7-bc10-b1590a457daa" providerId="ADAL" clId="{E13F79B4-0883-43B3-A8C1-4B35340FEE2D}" dt="2022-08-10T14:42:57.939" v="4183" actId="20577"/>
          <ac:spMkLst>
            <pc:docMk/>
            <pc:sldMk cId="4177393134" sldId="359"/>
            <ac:spMk id="2" creationId="{40BE7EE5-0E3D-D184-B65F-84EC76213A72}"/>
          </ac:spMkLst>
        </pc:spChg>
        <pc:spChg chg="add mod">
          <ac:chgData name="Ewen Trafford" userId="e520b4bf-a196-48b7-bc10-b1590a457daa" providerId="ADAL" clId="{E13F79B4-0883-43B3-A8C1-4B35340FEE2D}" dt="2022-08-25T08:59:18.381" v="5002" actId="20577"/>
          <ac:spMkLst>
            <pc:docMk/>
            <pc:sldMk cId="4177393134" sldId="359"/>
            <ac:spMk id="10" creationId="{C943567B-AC36-8DF3-E794-062557745BDF}"/>
          </ac:spMkLst>
        </pc:spChg>
        <pc:spChg chg="add mod">
          <ac:chgData name="Ewen Trafford" userId="e520b4bf-a196-48b7-bc10-b1590a457daa" providerId="ADAL" clId="{E13F79B4-0883-43B3-A8C1-4B35340FEE2D}" dt="2022-08-10T14:45:38.406" v="4259" actId="1076"/>
          <ac:spMkLst>
            <pc:docMk/>
            <pc:sldMk cId="4177393134" sldId="359"/>
            <ac:spMk id="11" creationId="{109E8A4F-679F-FB6D-5656-1E92F21E35CB}"/>
          </ac:spMkLst>
        </pc:spChg>
        <pc:spChg chg="add mod">
          <ac:chgData name="Ewen Trafford" userId="e520b4bf-a196-48b7-bc10-b1590a457daa" providerId="ADAL" clId="{E13F79B4-0883-43B3-A8C1-4B35340FEE2D}" dt="2022-08-10T15:05:05.873" v="4704" actId="1076"/>
          <ac:spMkLst>
            <pc:docMk/>
            <pc:sldMk cId="4177393134" sldId="359"/>
            <ac:spMk id="12" creationId="{8E04ABFC-346B-9899-80B3-B742AA5AB9A5}"/>
          </ac:spMkLst>
        </pc:spChg>
        <pc:spChg chg="add mod">
          <ac:chgData name="Ewen Trafford" userId="e520b4bf-a196-48b7-bc10-b1590a457daa" providerId="ADAL" clId="{E13F79B4-0883-43B3-A8C1-4B35340FEE2D}" dt="2022-08-10T14:46:33.135" v="4321" actId="1076"/>
          <ac:spMkLst>
            <pc:docMk/>
            <pc:sldMk cId="4177393134" sldId="359"/>
            <ac:spMk id="13" creationId="{68AA8F21-69E0-BAA4-C775-797D8AF111A6}"/>
          </ac:spMkLst>
        </pc:spChg>
        <pc:spChg chg="add mod">
          <ac:chgData name="Ewen Trafford" userId="e520b4bf-a196-48b7-bc10-b1590a457daa" providerId="ADAL" clId="{E13F79B4-0883-43B3-A8C1-4B35340FEE2D}" dt="2022-08-10T14:46:30.614" v="4320" actId="1076"/>
          <ac:spMkLst>
            <pc:docMk/>
            <pc:sldMk cId="4177393134" sldId="359"/>
            <ac:spMk id="14" creationId="{DE7C297C-F22B-9758-CBA4-962E995F790A}"/>
          </ac:spMkLst>
        </pc:spChg>
        <pc:spChg chg="add del mod">
          <ac:chgData name="Ewen Trafford" userId="e520b4bf-a196-48b7-bc10-b1590a457daa" providerId="ADAL" clId="{E13F79B4-0883-43B3-A8C1-4B35340FEE2D}" dt="2022-08-25T08:59:07.358" v="4997" actId="478"/>
          <ac:spMkLst>
            <pc:docMk/>
            <pc:sldMk cId="4177393134" sldId="359"/>
            <ac:spMk id="15" creationId="{BA50E03C-0C8E-CFBB-F9AB-FDAC160D5C41}"/>
          </ac:spMkLst>
        </pc:spChg>
        <pc:spChg chg="mod">
          <ac:chgData name="Ewen Trafford" userId="e520b4bf-a196-48b7-bc10-b1590a457daa" providerId="ADAL" clId="{E13F79B4-0883-43B3-A8C1-4B35340FEE2D}" dt="2022-08-10T14:59:36.622" v="4703" actId="20577"/>
          <ac:spMkLst>
            <pc:docMk/>
            <pc:sldMk cId="4177393134" sldId="359"/>
            <ac:spMk id="74" creationId="{E686E7B3-08FC-88A4-8008-7F7C8CF37507}"/>
          </ac:spMkLst>
        </pc:spChg>
        <pc:picChg chg="add mod">
          <ac:chgData name="Ewen Trafford" userId="e520b4bf-a196-48b7-bc10-b1590a457daa" providerId="ADAL" clId="{E13F79B4-0883-43B3-A8C1-4B35340FEE2D}" dt="2022-08-10T14:43:16.135" v="4191" actId="1076"/>
          <ac:picMkLst>
            <pc:docMk/>
            <pc:sldMk cId="4177393134" sldId="359"/>
            <ac:picMk id="3" creationId="{8B32F244-0A8D-5012-2FC0-EB4456BF3314}"/>
          </ac:picMkLst>
        </pc:picChg>
        <pc:picChg chg="add mod">
          <ac:chgData name="Ewen Trafford" userId="e520b4bf-a196-48b7-bc10-b1590a457daa" providerId="ADAL" clId="{E13F79B4-0883-43B3-A8C1-4B35340FEE2D}" dt="2022-08-10T14:44:19.746" v="4208" actId="1076"/>
          <ac:picMkLst>
            <pc:docMk/>
            <pc:sldMk cId="4177393134" sldId="359"/>
            <ac:picMk id="4" creationId="{4EF12802-1338-3E35-9E71-7CDDEAF5D83A}"/>
          </ac:picMkLst>
        </pc:picChg>
        <pc:picChg chg="add mod">
          <ac:chgData name="Ewen Trafford" userId="e520b4bf-a196-48b7-bc10-b1590a457daa" providerId="ADAL" clId="{E13F79B4-0883-43B3-A8C1-4B35340FEE2D}" dt="2022-08-10T14:43:18.092" v="4192" actId="1076"/>
          <ac:picMkLst>
            <pc:docMk/>
            <pc:sldMk cId="4177393134" sldId="359"/>
            <ac:picMk id="5" creationId="{B048E703-1D39-663E-A9AA-B6E0E1ADCBD2}"/>
          </ac:picMkLst>
        </pc:picChg>
        <pc:picChg chg="add mod">
          <ac:chgData name="Ewen Trafford" userId="e520b4bf-a196-48b7-bc10-b1590a457daa" providerId="ADAL" clId="{E13F79B4-0883-43B3-A8C1-4B35340FEE2D}" dt="2022-08-10T14:43:19.654" v="4193" actId="1076"/>
          <ac:picMkLst>
            <pc:docMk/>
            <pc:sldMk cId="4177393134" sldId="359"/>
            <ac:picMk id="6" creationId="{C44E7EEC-A445-7A1C-5BCC-6A0F2E2DF765}"/>
          </ac:picMkLst>
        </pc:picChg>
        <pc:cxnChg chg="add mod">
          <ac:chgData name="Ewen Trafford" userId="e520b4bf-a196-48b7-bc10-b1590a457daa" providerId="ADAL" clId="{E13F79B4-0883-43B3-A8C1-4B35340FEE2D}" dt="2022-08-10T14:43:38.622" v="4196" actId="14861"/>
          <ac:cxnSpMkLst>
            <pc:docMk/>
            <pc:sldMk cId="4177393134" sldId="359"/>
            <ac:cxnSpMk id="7" creationId="{D1A67964-286C-2E04-DD7F-D705DC8D7474}"/>
          </ac:cxnSpMkLst>
        </pc:cxnChg>
        <pc:cxnChg chg="add mod">
          <ac:chgData name="Ewen Trafford" userId="e520b4bf-a196-48b7-bc10-b1590a457daa" providerId="ADAL" clId="{E13F79B4-0883-43B3-A8C1-4B35340FEE2D}" dt="2022-08-10T14:44:14.655" v="4207" actId="1076"/>
          <ac:cxnSpMkLst>
            <pc:docMk/>
            <pc:sldMk cId="4177393134" sldId="359"/>
            <ac:cxnSpMk id="8" creationId="{237F7B4F-E7C6-F076-DCD4-2384FE60AAE1}"/>
          </ac:cxnSpMkLst>
        </pc:cxnChg>
        <pc:cxnChg chg="add mod">
          <ac:chgData name="Ewen Trafford" userId="e520b4bf-a196-48b7-bc10-b1590a457daa" providerId="ADAL" clId="{E13F79B4-0883-43B3-A8C1-4B35340FEE2D}" dt="2022-08-10T14:43:58.404" v="4202" actId="196"/>
          <ac:cxnSpMkLst>
            <pc:docMk/>
            <pc:sldMk cId="4177393134" sldId="359"/>
            <ac:cxnSpMk id="9" creationId="{C7BD597F-E384-7E0F-E276-B10040798D31}"/>
          </ac:cxnSpMkLst>
        </pc:cxnChg>
        <pc:cxnChg chg="add del mod">
          <ac:chgData name="Ewen Trafford" userId="e520b4bf-a196-48b7-bc10-b1590a457daa" providerId="ADAL" clId="{E13F79B4-0883-43B3-A8C1-4B35340FEE2D}" dt="2022-08-10T14:44:05.510" v="4206" actId="478"/>
          <ac:cxnSpMkLst>
            <pc:docMk/>
            <pc:sldMk cId="4177393134" sldId="359"/>
            <ac:cxnSpMk id="10" creationId="{CDFA0782-6024-C5E3-4083-B7A9CAC63298}"/>
          </ac:cxnSpMkLst>
        </pc:cxnChg>
      </pc:sldChg>
      <pc:sldChg chg="addSp modSp add mod">
        <pc:chgData name="Ewen Trafford" userId="e520b4bf-a196-48b7-bc10-b1590a457daa" providerId="ADAL" clId="{E13F79B4-0883-43B3-A8C1-4B35340FEE2D}" dt="2022-08-25T11:45:34.156" v="5915" actId="1076"/>
        <pc:sldMkLst>
          <pc:docMk/>
          <pc:sldMk cId="1497160864" sldId="360"/>
        </pc:sldMkLst>
        <pc:spChg chg="mod">
          <ac:chgData name="Ewen Trafford" userId="e520b4bf-a196-48b7-bc10-b1590a457daa" providerId="ADAL" clId="{E13F79B4-0883-43B3-A8C1-4B35340FEE2D}" dt="2022-08-25T11:27:39.478" v="5035" actId="20577"/>
          <ac:spMkLst>
            <pc:docMk/>
            <pc:sldMk cId="1497160864" sldId="360"/>
            <ac:spMk id="2" creationId="{09C8F7D6-0DE9-55CD-510F-91955FB21153}"/>
          </ac:spMkLst>
        </pc:spChg>
        <pc:spChg chg="mod">
          <ac:chgData name="Ewen Trafford" userId="e520b4bf-a196-48b7-bc10-b1590a457daa" providerId="ADAL" clId="{E13F79B4-0883-43B3-A8C1-4B35340FEE2D}" dt="2022-08-25T11:45:32.926" v="5914" actId="14100"/>
          <ac:spMkLst>
            <pc:docMk/>
            <pc:sldMk cId="1497160864" sldId="360"/>
            <ac:spMk id="3" creationId="{3F4AB2AE-64C7-4EAD-7377-33BA885C3FC6}"/>
          </ac:spMkLst>
        </pc:spChg>
        <pc:picChg chg="add mod">
          <ac:chgData name="Ewen Trafford" userId="e520b4bf-a196-48b7-bc10-b1590a457daa" providerId="ADAL" clId="{E13F79B4-0883-43B3-A8C1-4B35340FEE2D}" dt="2022-08-25T11:45:34.156" v="5915" actId="1076"/>
          <ac:picMkLst>
            <pc:docMk/>
            <pc:sldMk cId="1497160864" sldId="360"/>
            <ac:picMk id="4" creationId="{1D653AAA-58EC-D3E4-041E-7CD3B68C4F59}"/>
          </ac:picMkLst>
        </pc:picChg>
      </pc:sldChg>
      <pc:sldChg chg="modSp add del mod">
        <pc:chgData name="Ewen Trafford" userId="e520b4bf-a196-48b7-bc10-b1590a457daa" providerId="ADAL" clId="{E13F79B4-0883-43B3-A8C1-4B35340FEE2D}" dt="2022-08-25T11:28:00.981" v="5060" actId="47"/>
        <pc:sldMkLst>
          <pc:docMk/>
          <pc:sldMk cId="917957520" sldId="361"/>
        </pc:sldMkLst>
        <pc:spChg chg="mod">
          <ac:chgData name="Ewen Trafford" userId="e520b4bf-a196-48b7-bc10-b1590a457daa" providerId="ADAL" clId="{E13F79B4-0883-43B3-A8C1-4B35340FEE2D}" dt="2022-08-25T11:27:53.229" v="5041" actId="20577"/>
          <ac:spMkLst>
            <pc:docMk/>
            <pc:sldMk cId="917957520" sldId="361"/>
            <ac:spMk id="2" creationId="{09C8F7D6-0DE9-55CD-510F-91955FB21153}"/>
          </ac:spMkLst>
        </pc:spChg>
      </pc:sldChg>
      <pc:sldChg chg="addSp delSp modSp add mod ord">
        <pc:chgData name="Ewen Trafford" userId="e520b4bf-a196-48b7-bc10-b1590a457daa" providerId="ADAL" clId="{E13F79B4-0883-43B3-A8C1-4B35340FEE2D}" dt="2022-08-25T11:53:23.397" v="5924" actId="166"/>
        <pc:sldMkLst>
          <pc:docMk/>
          <pc:sldMk cId="3520185978" sldId="362"/>
        </pc:sldMkLst>
        <pc:spChg chg="mod">
          <ac:chgData name="Ewen Trafford" userId="e520b4bf-a196-48b7-bc10-b1590a457daa" providerId="ADAL" clId="{E13F79B4-0883-43B3-A8C1-4B35340FEE2D}" dt="2022-08-25T11:27:58.797" v="5059" actId="20577"/>
          <ac:spMkLst>
            <pc:docMk/>
            <pc:sldMk cId="3520185978" sldId="362"/>
            <ac:spMk id="2" creationId="{09C8F7D6-0DE9-55CD-510F-91955FB21153}"/>
          </ac:spMkLst>
        </pc:spChg>
        <pc:spChg chg="mod">
          <ac:chgData name="Ewen Trafford" userId="e520b4bf-a196-48b7-bc10-b1590a457daa" providerId="ADAL" clId="{E13F79B4-0883-43B3-A8C1-4B35340FEE2D}" dt="2022-08-25T11:38:57.588" v="5285" actId="20577"/>
          <ac:spMkLst>
            <pc:docMk/>
            <pc:sldMk cId="3520185978" sldId="362"/>
            <ac:spMk id="3" creationId="{3F4AB2AE-64C7-4EAD-7377-33BA885C3FC6}"/>
          </ac:spMkLst>
        </pc:spChg>
        <pc:spChg chg="add mod">
          <ac:chgData name="Ewen Trafford" userId="e520b4bf-a196-48b7-bc10-b1590a457daa" providerId="ADAL" clId="{E13F79B4-0883-43B3-A8C1-4B35340FEE2D}" dt="2022-08-25T11:39:12.186" v="5289" actId="1076"/>
          <ac:spMkLst>
            <pc:docMk/>
            <pc:sldMk cId="3520185978" sldId="362"/>
            <ac:spMk id="15" creationId="{E4E9886E-53FD-3D6C-7109-F0EFB003D53A}"/>
          </ac:spMkLst>
        </pc:spChg>
        <pc:picChg chg="add mod">
          <ac:chgData name="Ewen Trafford" userId="e520b4bf-a196-48b7-bc10-b1590a457daa" providerId="ADAL" clId="{E13F79B4-0883-43B3-A8C1-4B35340FEE2D}" dt="2022-08-25T11:37:40.324" v="5258" actId="1076"/>
          <ac:picMkLst>
            <pc:docMk/>
            <pc:sldMk cId="3520185978" sldId="362"/>
            <ac:picMk id="4" creationId="{9D4C1CCF-17C6-2449-0E38-5367D41DAE17}"/>
          </ac:picMkLst>
        </pc:picChg>
        <pc:picChg chg="add mod">
          <ac:chgData name="Ewen Trafford" userId="e520b4bf-a196-48b7-bc10-b1590a457daa" providerId="ADAL" clId="{E13F79B4-0883-43B3-A8C1-4B35340FEE2D}" dt="2022-08-25T11:37:34.525" v="5257" actId="1076"/>
          <ac:picMkLst>
            <pc:docMk/>
            <pc:sldMk cId="3520185978" sldId="362"/>
            <ac:picMk id="5" creationId="{8847E831-084D-5DFC-9234-A2B9EC815E4C}"/>
          </ac:picMkLst>
        </pc:picChg>
        <pc:picChg chg="add mod">
          <ac:chgData name="Ewen Trafford" userId="e520b4bf-a196-48b7-bc10-b1590a457daa" providerId="ADAL" clId="{E13F79B4-0883-43B3-A8C1-4B35340FEE2D}" dt="2022-08-25T11:33:57.494" v="5157" actId="14100"/>
          <ac:picMkLst>
            <pc:docMk/>
            <pc:sldMk cId="3520185978" sldId="362"/>
            <ac:picMk id="6" creationId="{D6AEB8A5-C265-8913-F5ED-E291F007A237}"/>
          </ac:picMkLst>
        </pc:picChg>
        <pc:picChg chg="add del mod">
          <ac:chgData name="Ewen Trafford" userId="e520b4bf-a196-48b7-bc10-b1590a457daa" providerId="ADAL" clId="{E13F79B4-0883-43B3-A8C1-4B35340FEE2D}" dt="2022-08-25T11:32:15.543" v="5096" actId="478"/>
          <ac:picMkLst>
            <pc:docMk/>
            <pc:sldMk cId="3520185978" sldId="362"/>
            <ac:picMk id="7" creationId="{1F02FE0A-8522-022C-623D-E789A2DF92E1}"/>
          </ac:picMkLst>
        </pc:picChg>
        <pc:picChg chg="add mod">
          <ac:chgData name="Ewen Trafford" userId="e520b4bf-a196-48b7-bc10-b1590a457daa" providerId="ADAL" clId="{E13F79B4-0883-43B3-A8C1-4B35340FEE2D}" dt="2022-08-25T11:53:16.523" v="5923" actId="1582"/>
          <ac:picMkLst>
            <pc:docMk/>
            <pc:sldMk cId="3520185978" sldId="362"/>
            <ac:picMk id="7" creationId="{4B5D8A8C-7DDC-70ED-EBCB-E1CA096FA05D}"/>
          </ac:picMkLst>
        </pc:picChg>
        <pc:picChg chg="add mod">
          <ac:chgData name="Ewen Trafford" userId="e520b4bf-a196-48b7-bc10-b1590a457daa" providerId="ADAL" clId="{E13F79B4-0883-43B3-A8C1-4B35340FEE2D}" dt="2022-08-25T11:37:42.646" v="5259" actId="1076"/>
          <ac:picMkLst>
            <pc:docMk/>
            <pc:sldMk cId="3520185978" sldId="362"/>
            <ac:picMk id="8" creationId="{46AB94F5-7B44-8F45-D72D-B68DFFE32939}"/>
          </ac:picMkLst>
        </pc:picChg>
        <pc:picChg chg="add mod">
          <ac:chgData name="Ewen Trafford" userId="e520b4bf-a196-48b7-bc10-b1590a457daa" providerId="ADAL" clId="{E13F79B4-0883-43B3-A8C1-4B35340FEE2D}" dt="2022-08-25T11:53:16.523" v="5923" actId="1582"/>
          <ac:picMkLst>
            <pc:docMk/>
            <pc:sldMk cId="3520185978" sldId="362"/>
            <ac:picMk id="10" creationId="{12F94C70-5A8C-6420-C04D-BF9CC3FE57BC}"/>
          </ac:picMkLst>
        </pc:picChg>
        <pc:picChg chg="add mod">
          <ac:chgData name="Ewen Trafford" userId="e520b4bf-a196-48b7-bc10-b1590a457daa" providerId="ADAL" clId="{E13F79B4-0883-43B3-A8C1-4B35340FEE2D}" dt="2022-08-25T11:53:16.523" v="5923" actId="1582"/>
          <ac:picMkLst>
            <pc:docMk/>
            <pc:sldMk cId="3520185978" sldId="362"/>
            <ac:picMk id="13" creationId="{22B84F5C-70D3-39B2-E214-48F03BD07D29}"/>
          </ac:picMkLst>
        </pc:picChg>
        <pc:picChg chg="add mod">
          <ac:chgData name="Ewen Trafford" userId="e520b4bf-a196-48b7-bc10-b1590a457daa" providerId="ADAL" clId="{E13F79B4-0883-43B3-A8C1-4B35340FEE2D}" dt="2022-08-25T11:53:16.523" v="5923" actId="1582"/>
          <ac:picMkLst>
            <pc:docMk/>
            <pc:sldMk cId="3520185978" sldId="362"/>
            <ac:picMk id="14" creationId="{706BFA6A-09D2-3DAF-CD2D-B5769E4150AC}"/>
          </ac:picMkLst>
        </pc:picChg>
        <pc:cxnChg chg="add mod ord">
          <ac:chgData name="Ewen Trafford" userId="e520b4bf-a196-48b7-bc10-b1590a457daa" providerId="ADAL" clId="{E13F79B4-0883-43B3-A8C1-4B35340FEE2D}" dt="2022-08-25T11:53:23.397" v="5924" actId="166"/>
          <ac:cxnSpMkLst>
            <pc:docMk/>
            <pc:sldMk cId="3520185978" sldId="362"/>
            <ac:cxnSpMk id="9" creationId="{615B348F-0385-F916-1EC4-BA0F5E2E3E2E}"/>
          </ac:cxnSpMkLst>
        </pc:cxnChg>
        <pc:cxnChg chg="add mod ord">
          <ac:chgData name="Ewen Trafford" userId="e520b4bf-a196-48b7-bc10-b1590a457daa" providerId="ADAL" clId="{E13F79B4-0883-43B3-A8C1-4B35340FEE2D}" dt="2022-08-25T11:53:23.397" v="5924" actId="166"/>
          <ac:cxnSpMkLst>
            <pc:docMk/>
            <pc:sldMk cId="3520185978" sldId="362"/>
            <ac:cxnSpMk id="11" creationId="{7D0D00FA-C885-E578-47DB-81929AA8CDE1}"/>
          </ac:cxnSpMkLst>
        </pc:cxnChg>
        <pc:cxnChg chg="add mod ord">
          <ac:chgData name="Ewen Trafford" userId="e520b4bf-a196-48b7-bc10-b1590a457daa" providerId="ADAL" clId="{E13F79B4-0883-43B3-A8C1-4B35340FEE2D}" dt="2022-08-25T11:53:23.397" v="5924" actId="166"/>
          <ac:cxnSpMkLst>
            <pc:docMk/>
            <pc:sldMk cId="3520185978" sldId="362"/>
            <ac:cxnSpMk id="12" creationId="{9E0B58BA-3FFE-67CA-C0C6-070C8D3DE8A6}"/>
          </ac:cxnSpMkLst>
        </pc:cxnChg>
      </pc:sldChg>
      <pc:sldChg chg="modSp add mod">
        <pc:chgData name="Ewen Trafford" userId="e520b4bf-a196-48b7-bc10-b1590a457daa" providerId="ADAL" clId="{E13F79B4-0883-43B3-A8C1-4B35340FEE2D}" dt="2022-08-25T11:30:43.660" v="5078" actId="20577"/>
        <pc:sldMkLst>
          <pc:docMk/>
          <pc:sldMk cId="3773656961" sldId="363"/>
        </pc:sldMkLst>
        <pc:spChg chg="mod">
          <ac:chgData name="Ewen Trafford" userId="e520b4bf-a196-48b7-bc10-b1590a457daa" providerId="ADAL" clId="{E13F79B4-0883-43B3-A8C1-4B35340FEE2D}" dt="2022-08-25T11:30:43.660" v="5078" actId="20577"/>
          <ac:spMkLst>
            <pc:docMk/>
            <pc:sldMk cId="3773656961" sldId="363"/>
            <ac:spMk id="2" creationId="{40BE7EE5-0E3D-D184-B65F-84EC76213A72}"/>
          </ac:spMkLst>
        </pc:spChg>
      </pc:sldChg>
      <pc:sldChg chg="del">
        <pc:chgData name="Ewen Trafford" userId="e520b4bf-a196-48b7-bc10-b1590a457daa" providerId="ADAL" clId="{E13F79B4-0883-43B3-A8C1-4B35340FEE2D}" dt="2022-08-30T12:06:54.516" v="5933" actId="47"/>
        <pc:sldMkLst>
          <pc:docMk/>
          <pc:sldMk cId="1010771248" sldId="364"/>
        </pc:sldMkLst>
      </pc:sldChg>
    </pc:docChg>
  </pc:docChgLst>
  <pc:docChgLst>
    <pc:chgData name="Ewen Trafford" userId="e520b4bf-a196-48b7-bc10-b1590a457daa" providerId="ADAL" clId="{FAE4F14E-C27C-4B84-87D7-6E24C646B925}"/>
    <pc:docChg chg="undo custSel addSld delSld modSld sldOrd">
      <pc:chgData name="Ewen Trafford" userId="e520b4bf-a196-48b7-bc10-b1590a457daa" providerId="ADAL" clId="{FAE4F14E-C27C-4B84-87D7-6E24C646B925}" dt="2022-07-20T15:15:13.836" v="5407" actId="20577"/>
      <pc:docMkLst>
        <pc:docMk/>
      </pc:docMkLst>
      <pc:sldChg chg="modSp mod">
        <pc:chgData name="Ewen Trafford" userId="e520b4bf-a196-48b7-bc10-b1590a457daa" providerId="ADAL" clId="{FAE4F14E-C27C-4B84-87D7-6E24C646B925}" dt="2022-07-20T09:22:58.511" v="15" actId="20577"/>
        <pc:sldMkLst>
          <pc:docMk/>
          <pc:sldMk cId="1955166399" sldId="256"/>
        </pc:sldMkLst>
        <pc:spChg chg="mod">
          <ac:chgData name="Ewen Trafford" userId="e520b4bf-a196-48b7-bc10-b1590a457daa" providerId="ADAL" clId="{FAE4F14E-C27C-4B84-87D7-6E24C646B925}" dt="2022-07-20T09:22:58.511" v="15" actId="20577"/>
          <ac:spMkLst>
            <pc:docMk/>
            <pc:sldMk cId="1955166399" sldId="256"/>
            <ac:spMk id="2" creationId="{00000000-0000-0000-0000-000000000000}"/>
          </ac:spMkLst>
        </pc:spChg>
      </pc:sldChg>
      <pc:sldChg chg="modSp mod">
        <pc:chgData name="Ewen Trafford" userId="e520b4bf-a196-48b7-bc10-b1590a457daa" providerId="ADAL" clId="{FAE4F14E-C27C-4B84-87D7-6E24C646B925}" dt="2022-07-20T09:26:22.302" v="135" actId="20577"/>
        <pc:sldMkLst>
          <pc:docMk/>
          <pc:sldMk cId="2302005153" sldId="261"/>
        </pc:sldMkLst>
        <pc:spChg chg="mod">
          <ac:chgData name="Ewen Trafford" userId="e520b4bf-a196-48b7-bc10-b1590a457daa" providerId="ADAL" clId="{FAE4F14E-C27C-4B84-87D7-6E24C646B925}" dt="2022-07-20T09:26:22.302" v="135" actId="20577"/>
          <ac:spMkLst>
            <pc:docMk/>
            <pc:sldMk cId="2302005153" sldId="261"/>
            <ac:spMk id="2" creationId="{00000000-0000-0000-0000-000000000000}"/>
          </ac:spMkLst>
        </pc:spChg>
      </pc:sldChg>
      <pc:sldChg chg="delSp modSp mod">
        <pc:chgData name="Ewen Trafford" userId="e520b4bf-a196-48b7-bc10-b1590a457daa" providerId="ADAL" clId="{FAE4F14E-C27C-4B84-87D7-6E24C646B925}" dt="2022-07-20T15:14:15.737" v="5376" actId="20577"/>
        <pc:sldMkLst>
          <pc:docMk/>
          <pc:sldMk cId="3993973292" sldId="274"/>
        </pc:sldMkLst>
        <pc:spChg chg="mod">
          <ac:chgData name="Ewen Trafford" userId="e520b4bf-a196-48b7-bc10-b1590a457daa" providerId="ADAL" clId="{FAE4F14E-C27C-4B84-87D7-6E24C646B925}" dt="2022-07-20T09:23:55.502" v="59" actId="20577"/>
          <ac:spMkLst>
            <pc:docMk/>
            <pc:sldMk cId="3993973292" sldId="274"/>
            <ac:spMk id="2" creationId="{00000000-0000-0000-0000-000000000000}"/>
          </ac:spMkLst>
        </pc:spChg>
        <pc:spChg chg="del">
          <ac:chgData name="Ewen Trafford" userId="e520b4bf-a196-48b7-bc10-b1590a457daa" providerId="ADAL" clId="{FAE4F14E-C27C-4B84-87D7-6E24C646B925}" dt="2022-07-20T15:08:10.361" v="5080" actId="478"/>
          <ac:spMkLst>
            <pc:docMk/>
            <pc:sldMk cId="3993973292" sldId="274"/>
            <ac:spMk id="4" creationId="{0E2C25B3-6ACC-4992-A8BB-6CAB4A259EA0}"/>
          </ac:spMkLst>
        </pc:spChg>
        <pc:spChg chg="mod">
          <ac:chgData name="Ewen Trafford" userId="e520b4bf-a196-48b7-bc10-b1590a457daa" providerId="ADAL" clId="{FAE4F14E-C27C-4B84-87D7-6E24C646B925}" dt="2022-07-20T15:14:15.737" v="5376" actId="20577"/>
          <ac:spMkLst>
            <pc:docMk/>
            <pc:sldMk cId="3993973292" sldId="274"/>
            <ac:spMk id="6" creationId="{A705A842-B67A-1091-B43C-016955CEB56E}"/>
          </ac:spMkLst>
        </pc:spChg>
      </pc:sldChg>
      <pc:sldChg chg="addSp delSp modSp mod">
        <pc:chgData name="Ewen Trafford" userId="e520b4bf-a196-48b7-bc10-b1590a457daa" providerId="ADAL" clId="{FAE4F14E-C27C-4B84-87D7-6E24C646B925}" dt="2022-07-20T09:37:09.617" v="793" actId="20577"/>
        <pc:sldMkLst>
          <pc:docMk/>
          <pc:sldMk cId="2831772784" sldId="320"/>
        </pc:sldMkLst>
        <pc:spChg chg="mod">
          <ac:chgData name="Ewen Trafford" userId="e520b4bf-a196-48b7-bc10-b1590a457daa" providerId="ADAL" clId="{FAE4F14E-C27C-4B84-87D7-6E24C646B925}" dt="2022-07-20T09:37:09.617" v="793" actId="20577"/>
          <ac:spMkLst>
            <pc:docMk/>
            <pc:sldMk cId="2831772784" sldId="320"/>
            <ac:spMk id="3" creationId="{B08F7FAB-511F-7730-95EA-CDCD60827684}"/>
          </ac:spMkLst>
        </pc:spChg>
        <pc:picChg chg="del">
          <ac:chgData name="Ewen Trafford" userId="e520b4bf-a196-48b7-bc10-b1590a457daa" providerId="ADAL" clId="{FAE4F14E-C27C-4B84-87D7-6E24C646B925}" dt="2022-07-20T09:23:02.401" v="16" actId="478"/>
          <ac:picMkLst>
            <pc:docMk/>
            <pc:sldMk cId="2831772784" sldId="320"/>
            <ac:picMk id="4" creationId="{266E6B86-D6B0-43F9-AAD5-786D4B0275C5}"/>
          </ac:picMkLst>
        </pc:picChg>
        <pc:picChg chg="add mod">
          <ac:chgData name="Ewen Trafford" userId="e520b4bf-a196-48b7-bc10-b1590a457daa" providerId="ADAL" clId="{FAE4F14E-C27C-4B84-87D7-6E24C646B925}" dt="2022-07-20T09:36:33.927" v="638" actId="1076"/>
          <ac:picMkLst>
            <pc:docMk/>
            <pc:sldMk cId="2831772784" sldId="320"/>
            <ac:picMk id="8194" creationId="{86C749E3-951D-48B7-AC0D-E75B5DA10A49}"/>
          </ac:picMkLst>
        </pc:picChg>
      </pc:sldChg>
      <pc:sldChg chg="addSp delSp modSp mod">
        <pc:chgData name="Ewen Trafford" userId="e520b4bf-a196-48b7-bc10-b1590a457daa" providerId="ADAL" clId="{FAE4F14E-C27C-4B84-87D7-6E24C646B925}" dt="2022-07-20T14:58:45.895" v="4868" actId="1076"/>
        <pc:sldMkLst>
          <pc:docMk/>
          <pc:sldMk cId="1195441026" sldId="321"/>
        </pc:sldMkLst>
        <pc:spChg chg="mod">
          <ac:chgData name="Ewen Trafford" userId="e520b4bf-a196-48b7-bc10-b1590a457daa" providerId="ADAL" clId="{FAE4F14E-C27C-4B84-87D7-6E24C646B925}" dt="2022-07-20T09:28:21.005" v="167" actId="20577"/>
          <ac:spMkLst>
            <pc:docMk/>
            <pc:sldMk cId="1195441026" sldId="321"/>
            <ac:spMk id="2" creationId="{8C8F01D9-49FA-6C29-3674-01A422037CD5}"/>
          </ac:spMkLst>
        </pc:spChg>
        <pc:spChg chg="mod">
          <ac:chgData name="Ewen Trafford" userId="e520b4bf-a196-48b7-bc10-b1590a457daa" providerId="ADAL" clId="{FAE4F14E-C27C-4B84-87D7-6E24C646B925}" dt="2022-07-20T09:44:01.750" v="1756" actId="14100"/>
          <ac:spMkLst>
            <pc:docMk/>
            <pc:sldMk cId="1195441026" sldId="321"/>
            <ac:spMk id="3" creationId="{11F1639A-5BD0-7C4B-622B-50E9B9EA0EE0}"/>
          </ac:spMkLst>
        </pc:spChg>
        <pc:picChg chg="del">
          <ac:chgData name="Ewen Trafford" userId="e520b4bf-a196-48b7-bc10-b1590a457daa" providerId="ADAL" clId="{FAE4F14E-C27C-4B84-87D7-6E24C646B925}" dt="2022-07-20T09:23:03.557" v="17" actId="478"/>
          <ac:picMkLst>
            <pc:docMk/>
            <pc:sldMk cId="1195441026" sldId="321"/>
            <ac:picMk id="5" creationId="{1D67924C-E146-384E-9245-F1AFE23699DB}"/>
          </ac:picMkLst>
        </pc:picChg>
        <pc:picChg chg="del">
          <ac:chgData name="Ewen Trafford" userId="e520b4bf-a196-48b7-bc10-b1590a457daa" providerId="ADAL" clId="{FAE4F14E-C27C-4B84-87D7-6E24C646B925}" dt="2022-07-20T09:23:04.061" v="18" actId="478"/>
          <ac:picMkLst>
            <pc:docMk/>
            <pc:sldMk cId="1195441026" sldId="321"/>
            <ac:picMk id="6" creationId="{D40977C9-0B84-92AF-7B25-021B4DD5C9DB}"/>
          </ac:picMkLst>
        </pc:picChg>
        <pc:picChg chg="add mod">
          <ac:chgData name="Ewen Trafford" userId="e520b4bf-a196-48b7-bc10-b1590a457daa" providerId="ADAL" clId="{FAE4F14E-C27C-4B84-87D7-6E24C646B925}" dt="2022-07-20T14:58:45.895" v="4868" actId="1076"/>
          <ac:picMkLst>
            <pc:docMk/>
            <pc:sldMk cId="1195441026" sldId="321"/>
            <ac:picMk id="7" creationId="{AD589BE0-4090-487A-9A6C-B1F411F45B18}"/>
          </ac:picMkLst>
        </pc:picChg>
      </pc:sldChg>
      <pc:sldChg chg="addSp delSp modSp mod ord">
        <pc:chgData name="Ewen Trafford" userId="e520b4bf-a196-48b7-bc10-b1590a457daa" providerId="ADAL" clId="{FAE4F14E-C27C-4B84-87D7-6E24C646B925}" dt="2022-07-20T09:41:12.178" v="1308" actId="20577"/>
        <pc:sldMkLst>
          <pc:docMk/>
          <pc:sldMk cId="2939149858" sldId="322"/>
        </pc:sldMkLst>
        <pc:spChg chg="mod">
          <ac:chgData name="Ewen Trafford" userId="e520b4bf-a196-48b7-bc10-b1590a457daa" providerId="ADAL" clId="{FAE4F14E-C27C-4B84-87D7-6E24C646B925}" dt="2022-07-20T09:26:37.205" v="136"/>
          <ac:spMkLst>
            <pc:docMk/>
            <pc:sldMk cId="2939149858" sldId="322"/>
            <ac:spMk id="2" creationId="{C0656FD1-4489-F55F-822B-620888FD55A9}"/>
          </ac:spMkLst>
        </pc:spChg>
        <pc:spChg chg="mod">
          <ac:chgData name="Ewen Trafford" userId="e520b4bf-a196-48b7-bc10-b1590a457daa" providerId="ADAL" clId="{FAE4F14E-C27C-4B84-87D7-6E24C646B925}" dt="2022-07-20T09:37:20.437" v="798" actId="113"/>
          <ac:spMkLst>
            <pc:docMk/>
            <pc:sldMk cId="2939149858" sldId="322"/>
            <ac:spMk id="3" creationId="{BE28E501-5A4E-D1A3-A7D8-65D153A748C4}"/>
          </ac:spMkLst>
        </pc:spChg>
        <pc:spChg chg="add mod">
          <ac:chgData name="Ewen Trafford" userId="e520b4bf-a196-48b7-bc10-b1590a457daa" providerId="ADAL" clId="{FAE4F14E-C27C-4B84-87D7-6E24C646B925}" dt="2022-07-20T09:41:12.178" v="1308" actId="20577"/>
          <ac:spMkLst>
            <pc:docMk/>
            <pc:sldMk cId="2939149858" sldId="322"/>
            <ac:spMk id="6" creationId="{37F21B2D-0E3B-42DC-85A8-4511EB39D461}"/>
          </ac:spMkLst>
        </pc:spChg>
        <pc:picChg chg="del">
          <ac:chgData name="Ewen Trafford" userId="e520b4bf-a196-48b7-bc10-b1590a457daa" providerId="ADAL" clId="{FAE4F14E-C27C-4B84-87D7-6E24C646B925}" dt="2022-07-20T09:23:05.840" v="20" actId="478"/>
          <ac:picMkLst>
            <pc:docMk/>
            <pc:sldMk cId="2939149858" sldId="322"/>
            <ac:picMk id="4" creationId="{2320BE9A-E343-A8AC-9545-61AB76A6E6A8}"/>
          </ac:picMkLst>
        </pc:picChg>
        <pc:picChg chg="del">
          <ac:chgData name="Ewen Trafford" userId="e520b4bf-a196-48b7-bc10-b1590a457daa" providerId="ADAL" clId="{FAE4F14E-C27C-4B84-87D7-6E24C646B925}" dt="2022-07-20T09:23:05.400" v="19" actId="478"/>
          <ac:picMkLst>
            <pc:docMk/>
            <pc:sldMk cId="2939149858" sldId="322"/>
            <ac:picMk id="5" creationId="{7140EEAC-D98D-96D7-8F04-8B43C494531F}"/>
          </ac:picMkLst>
        </pc:picChg>
        <pc:picChg chg="add mod">
          <ac:chgData name="Ewen Trafford" userId="e520b4bf-a196-48b7-bc10-b1590a457daa" providerId="ADAL" clId="{FAE4F14E-C27C-4B84-87D7-6E24C646B925}" dt="2022-07-20T09:37:50.569" v="807" actId="1076"/>
          <ac:picMkLst>
            <pc:docMk/>
            <pc:sldMk cId="2939149858" sldId="322"/>
            <ac:picMk id="9218" creationId="{D3E4E176-8338-46ED-93E7-BF00525E8562}"/>
          </ac:picMkLst>
        </pc:picChg>
      </pc:sldChg>
      <pc:sldChg chg="addSp delSp modSp mod">
        <pc:chgData name="Ewen Trafford" userId="e520b4bf-a196-48b7-bc10-b1590a457daa" providerId="ADAL" clId="{FAE4F14E-C27C-4B84-87D7-6E24C646B925}" dt="2022-07-20T09:43:36.036" v="1714" actId="20577"/>
        <pc:sldMkLst>
          <pc:docMk/>
          <pc:sldMk cId="1855309931" sldId="323"/>
        </pc:sldMkLst>
        <pc:spChg chg="mod">
          <ac:chgData name="Ewen Trafford" userId="e520b4bf-a196-48b7-bc10-b1590a457daa" providerId="ADAL" clId="{FAE4F14E-C27C-4B84-87D7-6E24C646B925}" dt="2022-07-20T09:41:26.439" v="1320" actId="20577"/>
          <ac:spMkLst>
            <pc:docMk/>
            <pc:sldMk cId="1855309931" sldId="323"/>
            <ac:spMk id="2" creationId="{CF40B81A-2823-8056-34AE-B3308191DF5B}"/>
          </ac:spMkLst>
        </pc:spChg>
        <pc:spChg chg="mod">
          <ac:chgData name="Ewen Trafford" userId="e520b4bf-a196-48b7-bc10-b1590a457daa" providerId="ADAL" clId="{FAE4F14E-C27C-4B84-87D7-6E24C646B925}" dt="2022-07-20T09:43:36.036" v="1714" actId="20577"/>
          <ac:spMkLst>
            <pc:docMk/>
            <pc:sldMk cId="1855309931" sldId="323"/>
            <ac:spMk id="3" creationId="{53B4885A-37FC-0B67-2285-D9A9B9DC8C09}"/>
          </ac:spMkLst>
        </pc:spChg>
        <pc:spChg chg="del">
          <ac:chgData name="Ewen Trafford" userId="e520b4bf-a196-48b7-bc10-b1590a457daa" providerId="ADAL" clId="{FAE4F14E-C27C-4B84-87D7-6E24C646B925}" dt="2022-07-20T09:23:09.541" v="23" actId="478"/>
          <ac:spMkLst>
            <pc:docMk/>
            <pc:sldMk cId="1855309931" sldId="323"/>
            <ac:spMk id="7" creationId="{1AFEF03E-522B-B4FE-2D07-18CFD5CBADE7}"/>
          </ac:spMkLst>
        </pc:spChg>
        <pc:picChg chg="del">
          <ac:chgData name="Ewen Trafford" userId="e520b4bf-a196-48b7-bc10-b1590a457daa" providerId="ADAL" clId="{FAE4F14E-C27C-4B84-87D7-6E24C646B925}" dt="2022-07-20T09:23:07.641" v="22" actId="478"/>
          <ac:picMkLst>
            <pc:docMk/>
            <pc:sldMk cId="1855309931" sldId="323"/>
            <ac:picMk id="5" creationId="{02D3BF99-D455-9CDD-8934-3BE81F53533F}"/>
          </ac:picMkLst>
        </pc:picChg>
        <pc:picChg chg="del">
          <ac:chgData name="Ewen Trafford" userId="e520b4bf-a196-48b7-bc10-b1590a457daa" providerId="ADAL" clId="{FAE4F14E-C27C-4B84-87D7-6E24C646B925}" dt="2022-07-20T09:23:07.181" v="21" actId="478"/>
          <ac:picMkLst>
            <pc:docMk/>
            <pc:sldMk cId="1855309931" sldId="323"/>
            <ac:picMk id="6" creationId="{4D21DF80-DAFE-2DF9-0B67-7DC830836C82}"/>
          </ac:picMkLst>
        </pc:picChg>
        <pc:picChg chg="add mod">
          <ac:chgData name="Ewen Trafford" userId="e520b4bf-a196-48b7-bc10-b1590a457daa" providerId="ADAL" clId="{FAE4F14E-C27C-4B84-87D7-6E24C646B925}" dt="2022-07-20T09:42:28.279" v="1435" actId="1076"/>
          <ac:picMkLst>
            <pc:docMk/>
            <pc:sldMk cId="1855309931" sldId="323"/>
            <ac:picMk id="10242" creationId="{4E8EE500-503D-43C4-A91C-2151635CF21C}"/>
          </ac:picMkLst>
        </pc:picChg>
      </pc:sldChg>
      <pc:sldChg chg="addSp delSp modSp mod">
        <pc:chgData name="Ewen Trafford" userId="e520b4bf-a196-48b7-bc10-b1590a457daa" providerId="ADAL" clId="{FAE4F14E-C27C-4B84-87D7-6E24C646B925}" dt="2022-07-20T15:15:13.836" v="5407" actId="20577"/>
        <pc:sldMkLst>
          <pc:docMk/>
          <pc:sldMk cId="1577086551" sldId="325"/>
        </pc:sldMkLst>
        <pc:spChg chg="mod">
          <ac:chgData name="Ewen Trafford" userId="e520b4bf-a196-48b7-bc10-b1590a457daa" providerId="ADAL" clId="{FAE4F14E-C27C-4B84-87D7-6E24C646B925}" dt="2022-07-20T09:50:25.192" v="1762" actId="20577"/>
          <ac:spMkLst>
            <pc:docMk/>
            <pc:sldMk cId="1577086551" sldId="325"/>
            <ac:spMk id="2" creationId="{6CFEA9C0-24EE-EB05-6ED1-A7679B590EE1}"/>
          </ac:spMkLst>
        </pc:spChg>
        <pc:spChg chg="mod">
          <ac:chgData name="Ewen Trafford" userId="e520b4bf-a196-48b7-bc10-b1590a457daa" providerId="ADAL" clId="{FAE4F14E-C27C-4B84-87D7-6E24C646B925}" dt="2022-07-20T15:15:13.836" v="5407" actId="20577"/>
          <ac:spMkLst>
            <pc:docMk/>
            <pc:sldMk cId="1577086551" sldId="325"/>
            <ac:spMk id="3" creationId="{25ECF5C8-B231-B34A-F7D8-C96CD9FECAD2}"/>
          </ac:spMkLst>
        </pc:spChg>
        <pc:spChg chg="del">
          <ac:chgData name="Ewen Trafford" userId="e520b4bf-a196-48b7-bc10-b1590a457daa" providerId="ADAL" clId="{FAE4F14E-C27C-4B84-87D7-6E24C646B925}" dt="2022-07-20T09:23:14.001" v="25" actId="478"/>
          <ac:spMkLst>
            <pc:docMk/>
            <pc:sldMk cId="1577086551" sldId="325"/>
            <ac:spMk id="7" creationId="{F3322B2B-D7B9-430C-F868-28B0CC1B6741}"/>
          </ac:spMkLst>
        </pc:spChg>
        <pc:picChg chg="del">
          <ac:chgData name="Ewen Trafford" userId="e520b4bf-a196-48b7-bc10-b1590a457daa" providerId="ADAL" clId="{FAE4F14E-C27C-4B84-87D7-6E24C646B925}" dt="2022-07-20T09:23:12.572" v="24" actId="478"/>
          <ac:picMkLst>
            <pc:docMk/>
            <pc:sldMk cId="1577086551" sldId="325"/>
            <ac:picMk id="5" creationId="{5A213300-F078-AC3D-1810-9E18A127F545}"/>
          </ac:picMkLst>
        </pc:picChg>
        <pc:picChg chg="add mod">
          <ac:chgData name="Ewen Trafford" userId="e520b4bf-a196-48b7-bc10-b1590a457daa" providerId="ADAL" clId="{FAE4F14E-C27C-4B84-87D7-6E24C646B925}" dt="2022-07-20T14:59:47.376" v="4874" actId="1076"/>
          <ac:picMkLst>
            <pc:docMk/>
            <pc:sldMk cId="1577086551" sldId="325"/>
            <ac:picMk id="6" creationId="{B5DA4EED-71FE-4FFF-9D8D-9F8B7293DC09}"/>
          </ac:picMkLst>
        </pc:picChg>
      </pc:sldChg>
      <pc:sldChg chg="addSp delSp modSp mod">
        <pc:chgData name="Ewen Trafford" userId="e520b4bf-a196-48b7-bc10-b1590a457daa" providerId="ADAL" clId="{FAE4F14E-C27C-4B84-87D7-6E24C646B925}" dt="2022-07-20T15:14:28.162" v="5380" actId="20577"/>
        <pc:sldMkLst>
          <pc:docMk/>
          <pc:sldMk cId="2100916119" sldId="326"/>
        </pc:sldMkLst>
        <pc:spChg chg="mod">
          <ac:chgData name="Ewen Trafford" userId="e520b4bf-a196-48b7-bc10-b1590a457daa" providerId="ADAL" clId="{FAE4F14E-C27C-4B84-87D7-6E24C646B925}" dt="2022-07-20T15:14:28.162" v="5380" actId="20577"/>
          <ac:spMkLst>
            <pc:docMk/>
            <pc:sldMk cId="2100916119" sldId="326"/>
            <ac:spMk id="2" creationId="{FAD0F388-1AED-A299-E614-C6A84905AD5C}"/>
          </ac:spMkLst>
        </pc:spChg>
        <pc:spChg chg="mod">
          <ac:chgData name="Ewen Trafford" userId="e520b4bf-a196-48b7-bc10-b1590a457daa" providerId="ADAL" clId="{FAE4F14E-C27C-4B84-87D7-6E24C646B925}" dt="2022-07-20T11:59:45.045" v="3765" actId="20577"/>
          <ac:spMkLst>
            <pc:docMk/>
            <pc:sldMk cId="2100916119" sldId="326"/>
            <ac:spMk id="3" creationId="{2C665282-E317-C20B-46E2-966005E09A87}"/>
          </ac:spMkLst>
        </pc:spChg>
        <pc:spChg chg="add mod">
          <ac:chgData name="Ewen Trafford" userId="e520b4bf-a196-48b7-bc10-b1590a457daa" providerId="ADAL" clId="{FAE4F14E-C27C-4B84-87D7-6E24C646B925}" dt="2022-07-20T10:17:52.718" v="3503" actId="1076"/>
          <ac:spMkLst>
            <pc:docMk/>
            <pc:sldMk cId="2100916119" sldId="326"/>
            <ac:spMk id="9" creationId="{6BD147FE-DBCC-4E61-85D1-762F2A23080D}"/>
          </ac:spMkLst>
        </pc:spChg>
        <pc:picChg chg="del">
          <ac:chgData name="Ewen Trafford" userId="e520b4bf-a196-48b7-bc10-b1590a457daa" providerId="ADAL" clId="{FAE4F14E-C27C-4B84-87D7-6E24C646B925}" dt="2022-07-20T09:23:19.330" v="29" actId="478"/>
          <ac:picMkLst>
            <pc:docMk/>
            <pc:sldMk cId="2100916119" sldId="326"/>
            <ac:picMk id="4" creationId="{61CB6161-61EA-9ABC-6922-40D38C300152}"/>
          </ac:picMkLst>
        </pc:picChg>
        <pc:picChg chg="add mod">
          <ac:chgData name="Ewen Trafford" userId="e520b4bf-a196-48b7-bc10-b1590a457daa" providerId="ADAL" clId="{FAE4F14E-C27C-4B84-87D7-6E24C646B925}" dt="2022-07-20T10:16:33.512" v="3370"/>
          <ac:picMkLst>
            <pc:docMk/>
            <pc:sldMk cId="2100916119" sldId="326"/>
            <ac:picMk id="6" creationId="{20716ED3-36CE-4322-91E3-11220169F1F6}"/>
          </ac:picMkLst>
        </pc:picChg>
        <pc:picChg chg="del">
          <ac:chgData name="Ewen Trafford" userId="e520b4bf-a196-48b7-bc10-b1590a457daa" providerId="ADAL" clId="{FAE4F14E-C27C-4B84-87D7-6E24C646B925}" dt="2022-07-20T09:23:18.942" v="28" actId="478"/>
          <ac:picMkLst>
            <pc:docMk/>
            <pc:sldMk cId="2100916119" sldId="326"/>
            <ac:picMk id="8" creationId="{325B5A34-3789-9371-6C56-95DDBFCAA5DE}"/>
          </ac:picMkLst>
        </pc:picChg>
        <pc:cxnChg chg="add mod">
          <ac:chgData name="Ewen Trafford" userId="e520b4bf-a196-48b7-bc10-b1590a457daa" providerId="ADAL" clId="{FAE4F14E-C27C-4B84-87D7-6E24C646B925}" dt="2022-07-20T10:17:57.888" v="3504" actId="14100"/>
          <ac:cxnSpMkLst>
            <pc:docMk/>
            <pc:sldMk cId="2100916119" sldId="326"/>
            <ac:cxnSpMk id="7" creationId="{BD1FF4A3-7732-4698-8925-8CED1E8B3556}"/>
          </ac:cxnSpMkLst>
        </pc:cxnChg>
      </pc:sldChg>
      <pc:sldChg chg="delSp del mod">
        <pc:chgData name="Ewen Trafford" userId="e520b4bf-a196-48b7-bc10-b1590a457daa" providerId="ADAL" clId="{FAE4F14E-C27C-4B84-87D7-6E24C646B925}" dt="2022-07-20T09:53:05.622" v="2176" actId="47"/>
        <pc:sldMkLst>
          <pc:docMk/>
          <pc:sldMk cId="2039023108" sldId="327"/>
        </pc:sldMkLst>
        <pc:picChg chg="del">
          <ac:chgData name="Ewen Trafford" userId="e520b4bf-a196-48b7-bc10-b1590a457daa" providerId="ADAL" clId="{FAE4F14E-C27C-4B84-87D7-6E24C646B925}" dt="2022-07-20T09:23:24.762" v="33" actId="478"/>
          <ac:picMkLst>
            <pc:docMk/>
            <pc:sldMk cId="2039023108" sldId="327"/>
            <ac:picMk id="4" creationId="{4B9D2D8E-FB45-73C2-A641-146E099160E6}"/>
          </ac:picMkLst>
        </pc:picChg>
      </pc:sldChg>
      <pc:sldChg chg="addSp delSp add del mod">
        <pc:chgData name="Ewen Trafford" userId="e520b4bf-a196-48b7-bc10-b1590a457daa" providerId="ADAL" clId="{FAE4F14E-C27C-4B84-87D7-6E24C646B925}" dt="2022-07-20T13:28:55.941" v="4133" actId="47"/>
        <pc:sldMkLst>
          <pc:docMk/>
          <pc:sldMk cId="153349484" sldId="330"/>
        </pc:sldMkLst>
        <pc:picChg chg="add del">
          <ac:chgData name="Ewen Trafford" userId="e520b4bf-a196-48b7-bc10-b1590a457daa" providerId="ADAL" clId="{FAE4F14E-C27C-4B84-87D7-6E24C646B925}" dt="2022-07-20T09:23:37.483" v="38" actId="478"/>
          <ac:picMkLst>
            <pc:docMk/>
            <pc:sldMk cId="153349484" sldId="330"/>
            <ac:picMk id="5" creationId="{A372EA35-DA00-C5AE-AEED-B18E342AE263}"/>
          </ac:picMkLst>
        </pc:picChg>
        <pc:picChg chg="del">
          <ac:chgData name="Ewen Trafford" userId="e520b4bf-a196-48b7-bc10-b1590a457daa" providerId="ADAL" clId="{FAE4F14E-C27C-4B84-87D7-6E24C646B925}" dt="2022-07-20T13:28:37.833" v="4130" actId="478"/>
          <ac:picMkLst>
            <pc:docMk/>
            <pc:sldMk cId="153349484" sldId="330"/>
            <ac:picMk id="12" creationId="{07CEC015-C920-8907-7F05-DA2C64A16579}"/>
          </ac:picMkLst>
        </pc:picChg>
      </pc:sldChg>
      <pc:sldChg chg="addSp delSp modSp mod delCm">
        <pc:chgData name="Ewen Trafford" userId="e520b4bf-a196-48b7-bc10-b1590a457daa" providerId="ADAL" clId="{FAE4F14E-C27C-4B84-87D7-6E24C646B925}" dt="2022-07-20T14:56:04.522" v="4734" actId="13926"/>
        <pc:sldMkLst>
          <pc:docMk/>
          <pc:sldMk cId="3594171061" sldId="331"/>
        </pc:sldMkLst>
        <pc:spChg chg="add del">
          <ac:chgData name="Ewen Trafford" userId="e520b4bf-a196-48b7-bc10-b1590a457daa" providerId="ADAL" clId="{FAE4F14E-C27C-4B84-87D7-6E24C646B925}" dt="2022-07-20T14:48:58.474" v="4245" actId="478"/>
          <ac:spMkLst>
            <pc:docMk/>
            <pc:sldMk cId="3594171061" sldId="331"/>
            <ac:spMk id="3" creationId="{F125752D-9A62-EC8F-B592-EBFBCA644C0A}"/>
          </ac:spMkLst>
        </pc:spChg>
        <pc:graphicFrameChg chg="mod modGraphic">
          <ac:chgData name="Ewen Trafford" userId="e520b4bf-a196-48b7-bc10-b1590a457daa" providerId="ADAL" clId="{FAE4F14E-C27C-4B84-87D7-6E24C646B925}" dt="2022-07-20T14:56:04.522" v="4734" actId="13926"/>
          <ac:graphicFrameMkLst>
            <pc:docMk/>
            <pc:sldMk cId="3594171061" sldId="331"/>
            <ac:graphicFrameMk id="4" creationId="{852C40F4-3A0C-2C57-5C1A-53EF072895F3}"/>
          </ac:graphicFrameMkLst>
        </pc:graphicFrameChg>
      </pc:sldChg>
      <pc:sldChg chg="del">
        <pc:chgData name="Ewen Trafford" userId="e520b4bf-a196-48b7-bc10-b1590a457daa" providerId="ADAL" clId="{FAE4F14E-C27C-4B84-87D7-6E24C646B925}" dt="2022-07-20T09:23:27.479" v="34" actId="47"/>
        <pc:sldMkLst>
          <pc:docMk/>
          <pc:sldMk cId="477617242" sldId="332"/>
        </pc:sldMkLst>
      </pc:sldChg>
      <pc:sldChg chg="addSp delSp modSp mod">
        <pc:chgData name="Ewen Trafford" userId="e520b4bf-a196-48b7-bc10-b1590a457daa" providerId="ADAL" clId="{FAE4F14E-C27C-4B84-87D7-6E24C646B925}" dt="2022-07-20T12:07:12.550" v="4129" actId="20577"/>
        <pc:sldMkLst>
          <pc:docMk/>
          <pc:sldMk cId="2621305010" sldId="333"/>
        </pc:sldMkLst>
        <pc:spChg chg="mod">
          <ac:chgData name="Ewen Trafford" userId="e520b4bf-a196-48b7-bc10-b1590a457daa" providerId="ADAL" clId="{FAE4F14E-C27C-4B84-87D7-6E24C646B925}" dt="2022-07-20T09:52:57.050" v="2172" actId="20577"/>
          <ac:spMkLst>
            <pc:docMk/>
            <pc:sldMk cId="2621305010" sldId="333"/>
            <ac:spMk id="2" creationId="{FDEA6281-391E-66E2-1DB3-80FC7F3BDEE5}"/>
          </ac:spMkLst>
        </pc:spChg>
        <pc:spChg chg="mod">
          <ac:chgData name="Ewen Trafford" userId="e520b4bf-a196-48b7-bc10-b1590a457daa" providerId="ADAL" clId="{FAE4F14E-C27C-4B84-87D7-6E24C646B925}" dt="2022-07-20T12:07:12.550" v="4129" actId="20577"/>
          <ac:spMkLst>
            <pc:docMk/>
            <pc:sldMk cId="2621305010" sldId="333"/>
            <ac:spMk id="3" creationId="{4064AF50-EC9A-5285-EC07-7CD21438E99F}"/>
          </ac:spMkLst>
        </pc:spChg>
        <pc:spChg chg="add mod">
          <ac:chgData name="Ewen Trafford" userId="e520b4bf-a196-48b7-bc10-b1590a457daa" providerId="ADAL" clId="{FAE4F14E-C27C-4B84-87D7-6E24C646B925}" dt="2022-07-20T10:19:18.049" v="3524" actId="20577"/>
          <ac:spMkLst>
            <pc:docMk/>
            <pc:sldMk cId="2621305010" sldId="333"/>
            <ac:spMk id="9" creationId="{2A6216CF-87A2-41A9-BB3C-C3E6FE558FD7}"/>
          </ac:spMkLst>
        </pc:spChg>
        <pc:picChg chg="add mod modCrop">
          <ac:chgData name="Ewen Trafford" userId="e520b4bf-a196-48b7-bc10-b1590a457daa" providerId="ADAL" clId="{FAE4F14E-C27C-4B84-87D7-6E24C646B925}" dt="2022-07-20T10:18:58.570" v="3519" actId="1076"/>
          <ac:picMkLst>
            <pc:docMk/>
            <pc:sldMk cId="2621305010" sldId="333"/>
            <ac:picMk id="6" creationId="{DCFCA221-29AC-4E11-B474-BB6638413258}"/>
          </ac:picMkLst>
        </pc:picChg>
        <pc:picChg chg="del">
          <ac:chgData name="Ewen Trafford" userId="e520b4bf-a196-48b7-bc10-b1590a457daa" providerId="ADAL" clId="{FAE4F14E-C27C-4B84-87D7-6E24C646B925}" dt="2022-07-20T09:23:21.290" v="30" actId="478"/>
          <ac:picMkLst>
            <pc:docMk/>
            <pc:sldMk cId="2621305010" sldId="333"/>
            <ac:picMk id="7" creationId="{1BD31FB6-BA1A-F48F-1F64-EC35B64043FD}"/>
          </ac:picMkLst>
        </pc:picChg>
        <pc:picChg chg="del">
          <ac:chgData name="Ewen Trafford" userId="e520b4bf-a196-48b7-bc10-b1590a457daa" providerId="ADAL" clId="{FAE4F14E-C27C-4B84-87D7-6E24C646B925}" dt="2022-07-20T09:23:21.630" v="31" actId="478"/>
          <ac:picMkLst>
            <pc:docMk/>
            <pc:sldMk cId="2621305010" sldId="333"/>
            <ac:picMk id="11" creationId="{BCE24CF7-63E5-78B9-F8EC-E571288AF740}"/>
          </ac:picMkLst>
        </pc:picChg>
        <pc:cxnChg chg="add mod">
          <ac:chgData name="Ewen Trafford" userId="e520b4bf-a196-48b7-bc10-b1590a457daa" providerId="ADAL" clId="{FAE4F14E-C27C-4B84-87D7-6E24C646B925}" dt="2022-07-20T10:19:10.195" v="3521" actId="14100"/>
          <ac:cxnSpMkLst>
            <pc:docMk/>
            <pc:sldMk cId="2621305010" sldId="333"/>
            <ac:cxnSpMk id="8" creationId="{3963AA22-0FEB-4D90-8DA5-AC84C7AB218E}"/>
          </ac:cxnSpMkLst>
        </pc:cxnChg>
      </pc:sldChg>
      <pc:sldChg chg="delSp del mod">
        <pc:chgData name="Ewen Trafford" userId="e520b4bf-a196-48b7-bc10-b1590a457daa" providerId="ADAL" clId="{FAE4F14E-C27C-4B84-87D7-6E24C646B925}" dt="2022-07-20T09:53:04.769" v="2175" actId="47"/>
        <pc:sldMkLst>
          <pc:docMk/>
          <pc:sldMk cId="1992076852" sldId="334"/>
        </pc:sldMkLst>
        <pc:picChg chg="del">
          <ac:chgData name="Ewen Trafford" userId="e520b4bf-a196-48b7-bc10-b1590a457daa" providerId="ADAL" clId="{FAE4F14E-C27C-4B84-87D7-6E24C646B925}" dt="2022-07-20T09:23:23.072" v="32" actId="478"/>
          <ac:picMkLst>
            <pc:docMk/>
            <pc:sldMk cId="1992076852" sldId="334"/>
            <ac:picMk id="4" creationId="{42C93042-633F-35AF-BA5B-9D626703DB6D}"/>
          </ac:picMkLst>
        </pc:picChg>
      </pc:sldChg>
      <pc:sldChg chg="addSp delSp modSp mod">
        <pc:chgData name="Ewen Trafford" userId="e520b4bf-a196-48b7-bc10-b1590a457daa" providerId="ADAL" clId="{FAE4F14E-C27C-4B84-87D7-6E24C646B925}" dt="2022-07-20T10:16:03.948" v="3369" actId="14100"/>
        <pc:sldMkLst>
          <pc:docMk/>
          <pc:sldMk cId="568958115" sldId="335"/>
        </pc:sldMkLst>
        <pc:spChg chg="mod">
          <ac:chgData name="Ewen Trafford" userId="e520b4bf-a196-48b7-bc10-b1590a457daa" providerId="ADAL" clId="{FAE4F14E-C27C-4B84-87D7-6E24C646B925}" dt="2022-07-20T09:52:35.142" v="2121" actId="20577"/>
          <ac:spMkLst>
            <pc:docMk/>
            <pc:sldMk cId="568958115" sldId="335"/>
            <ac:spMk id="2" creationId="{69E0D44B-2259-C19F-790A-E64A638ADA8A}"/>
          </ac:spMkLst>
        </pc:spChg>
        <pc:spChg chg="mod">
          <ac:chgData name="Ewen Trafford" userId="e520b4bf-a196-48b7-bc10-b1590a457daa" providerId="ADAL" clId="{FAE4F14E-C27C-4B84-87D7-6E24C646B925}" dt="2022-07-20T10:12:57.698" v="3157" actId="20577"/>
          <ac:spMkLst>
            <pc:docMk/>
            <pc:sldMk cId="568958115" sldId="335"/>
            <ac:spMk id="3" creationId="{7A1ACDE8-06F6-9A1F-FEA6-E8329882C225}"/>
          </ac:spMkLst>
        </pc:spChg>
        <pc:spChg chg="del">
          <ac:chgData name="Ewen Trafford" userId="e520b4bf-a196-48b7-bc10-b1590a457daa" providerId="ADAL" clId="{FAE4F14E-C27C-4B84-87D7-6E24C646B925}" dt="2022-07-20T09:23:16.762" v="27" actId="478"/>
          <ac:spMkLst>
            <pc:docMk/>
            <pc:sldMk cId="568958115" sldId="335"/>
            <ac:spMk id="5" creationId="{02286E42-A545-A71F-96AC-AB93716B6D80}"/>
          </ac:spMkLst>
        </pc:spChg>
        <pc:spChg chg="add mod">
          <ac:chgData name="Ewen Trafford" userId="e520b4bf-a196-48b7-bc10-b1590a457daa" providerId="ADAL" clId="{FAE4F14E-C27C-4B84-87D7-6E24C646B925}" dt="2022-07-20T10:16:03.948" v="3369" actId="14100"/>
          <ac:spMkLst>
            <pc:docMk/>
            <pc:sldMk cId="568958115" sldId="335"/>
            <ac:spMk id="10" creationId="{5D6F8204-A5D0-4993-A32A-69D3D0976CF9}"/>
          </ac:spMkLst>
        </pc:spChg>
        <pc:picChg chg="del">
          <ac:chgData name="Ewen Trafford" userId="e520b4bf-a196-48b7-bc10-b1590a457daa" providerId="ADAL" clId="{FAE4F14E-C27C-4B84-87D7-6E24C646B925}" dt="2022-07-20T09:23:15.702" v="26" actId="478"/>
          <ac:picMkLst>
            <pc:docMk/>
            <pc:sldMk cId="568958115" sldId="335"/>
            <ac:picMk id="4" creationId="{7B8C6D31-DF0E-38D3-7B2D-2F4D49B1FB5A}"/>
          </ac:picMkLst>
        </pc:picChg>
        <pc:picChg chg="add mod modCrop">
          <ac:chgData name="Ewen Trafford" userId="e520b4bf-a196-48b7-bc10-b1590a457daa" providerId="ADAL" clId="{FAE4F14E-C27C-4B84-87D7-6E24C646B925}" dt="2022-07-20T10:13:42.929" v="3166" actId="1076"/>
          <ac:picMkLst>
            <pc:docMk/>
            <pc:sldMk cId="568958115" sldId="335"/>
            <ac:picMk id="6" creationId="{3E71CD65-71F4-43C3-B8AF-4A3A951DC28D}"/>
          </ac:picMkLst>
        </pc:picChg>
        <pc:cxnChg chg="add mod">
          <ac:chgData name="Ewen Trafford" userId="e520b4bf-a196-48b7-bc10-b1590a457daa" providerId="ADAL" clId="{FAE4F14E-C27C-4B84-87D7-6E24C646B925}" dt="2022-07-20T10:15:08.807" v="3185" actId="1076"/>
          <ac:cxnSpMkLst>
            <pc:docMk/>
            <pc:sldMk cId="568958115" sldId="335"/>
            <ac:cxnSpMk id="8" creationId="{9766098F-B058-4857-809C-D33A706C1FDD}"/>
          </ac:cxnSpMkLst>
        </pc:cxnChg>
      </pc:sldChg>
      <pc:sldChg chg="delSp del mod">
        <pc:chgData name="Ewen Trafford" userId="e520b4bf-a196-48b7-bc10-b1590a457daa" providerId="ADAL" clId="{FAE4F14E-C27C-4B84-87D7-6E24C646B925}" dt="2022-07-20T09:23:40.584" v="40" actId="47"/>
        <pc:sldMkLst>
          <pc:docMk/>
          <pc:sldMk cId="1320110399" sldId="336"/>
        </pc:sldMkLst>
        <pc:picChg chg="del">
          <ac:chgData name="Ewen Trafford" userId="e520b4bf-a196-48b7-bc10-b1590a457daa" providerId="ADAL" clId="{FAE4F14E-C27C-4B84-87D7-6E24C646B925}" dt="2022-07-20T09:23:39.622" v="39" actId="478"/>
          <ac:picMkLst>
            <pc:docMk/>
            <pc:sldMk cId="1320110399" sldId="336"/>
            <ac:picMk id="7" creationId="{CEBF10CC-61FD-3B64-0BD8-DBBE6622F123}"/>
          </ac:picMkLst>
        </pc:picChg>
      </pc:sldChg>
      <pc:sldChg chg="del">
        <pc:chgData name="Ewen Trafford" userId="e520b4bf-a196-48b7-bc10-b1590a457daa" providerId="ADAL" clId="{FAE4F14E-C27C-4B84-87D7-6E24C646B925}" dt="2022-07-20T09:23:47.165" v="43" actId="47"/>
        <pc:sldMkLst>
          <pc:docMk/>
          <pc:sldMk cId="553280098" sldId="337"/>
        </pc:sldMkLst>
      </pc:sldChg>
      <pc:sldChg chg="modSp mod">
        <pc:chgData name="Ewen Trafford" userId="e520b4bf-a196-48b7-bc10-b1590a457daa" providerId="ADAL" clId="{FAE4F14E-C27C-4B84-87D7-6E24C646B925}" dt="2022-07-20T15:03:29.790" v="4876" actId="20577"/>
        <pc:sldMkLst>
          <pc:docMk/>
          <pc:sldMk cId="2046763801" sldId="338"/>
        </pc:sldMkLst>
        <pc:spChg chg="mod">
          <ac:chgData name="Ewen Trafford" userId="e520b4bf-a196-48b7-bc10-b1590a457daa" providerId="ADAL" clId="{FAE4F14E-C27C-4B84-87D7-6E24C646B925}" dt="2022-07-20T09:26:37.205" v="136"/>
          <ac:spMkLst>
            <pc:docMk/>
            <pc:sldMk cId="2046763801" sldId="338"/>
            <ac:spMk id="2" creationId="{CB2517A4-E10A-E444-1061-434E356416A6}"/>
          </ac:spMkLst>
        </pc:spChg>
        <pc:spChg chg="mod">
          <ac:chgData name="Ewen Trafford" userId="e520b4bf-a196-48b7-bc10-b1590a457daa" providerId="ADAL" clId="{FAE4F14E-C27C-4B84-87D7-6E24C646B925}" dt="2022-07-20T15:03:29.790" v="4876" actId="20577"/>
          <ac:spMkLst>
            <pc:docMk/>
            <pc:sldMk cId="2046763801" sldId="338"/>
            <ac:spMk id="3" creationId="{CDC99BCA-D4B3-5B9E-85FC-708932B92CBD}"/>
          </ac:spMkLst>
        </pc:spChg>
      </pc:sldChg>
      <pc:sldChg chg="modSp mod">
        <pc:chgData name="Ewen Trafford" userId="e520b4bf-a196-48b7-bc10-b1590a457daa" providerId="ADAL" clId="{FAE4F14E-C27C-4B84-87D7-6E24C646B925}" dt="2022-07-20T15:03:35.082" v="4878" actId="113"/>
        <pc:sldMkLst>
          <pc:docMk/>
          <pc:sldMk cId="2070260529" sldId="339"/>
        </pc:sldMkLst>
        <pc:spChg chg="mod">
          <ac:chgData name="Ewen Trafford" userId="e520b4bf-a196-48b7-bc10-b1590a457daa" providerId="ADAL" clId="{FAE4F14E-C27C-4B84-87D7-6E24C646B925}" dt="2022-07-20T09:26:37.205" v="136"/>
          <ac:spMkLst>
            <pc:docMk/>
            <pc:sldMk cId="2070260529" sldId="339"/>
            <ac:spMk id="2" creationId="{7F902433-BE09-580A-3E8C-C0DDD80ACC8F}"/>
          </ac:spMkLst>
        </pc:spChg>
        <pc:spChg chg="mod">
          <ac:chgData name="Ewen Trafford" userId="e520b4bf-a196-48b7-bc10-b1590a457daa" providerId="ADAL" clId="{FAE4F14E-C27C-4B84-87D7-6E24C646B925}" dt="2022-07-20T15:03:35.082" v="4878" actId="113"/>
          <ac:spMkLst>
            <pc:docMk/>
            <pc:sldMk cId="2070260529" sldId="339"/>
            <ac:spMk id="3" creationId="{82844BDE-4E6A-0B46-4D93-2FCABBF069E7}"/>
          </ac:spMkLst>
        </pc:spChg>
      </pc:sldChg>
      <pc:sldChg chg="modSp del">
        <pc:chgData name="Ewen Trafford" userId="e520b4bf-a196-48b7-bc10-b1590a457daa" providerId="ADAL" clId="{FAE4F14E-C27C-4B84-87D7-6E24C646B925}" dt="2022-07-20T15:03:38.179" v="4879" actId="47"/>
        <pc:sldMkLst>
          <pc:docMk/>
          <pc:sldMk cId="661775352" sldId="340"/>
        </pc:sldMkLst>
        <pc:spChg chg="mod">
          <ac:chgData name="Ewen Trafford" userId="e520b4bf-a196-48b7-bc10-b1590a457daa" providerId="ADAL" clId="{FAE4F14E-C27C-4B84-87D7-6E24C646B925}" dt="2022-07-20T09:26:37.205" v="136"/>
          <ac:spMkLst>
            <pc:docMk/>
            <pc:sldMk cId="661775352" sldId="340"/>
            <ac:spMk id="2" creationId="{D4D718B0-5CE8-6F0E-60F1-7D3FD91C2880}"/>
          </ac:spMkLst>
        </pc:spChg>
        <pc:spChg chg="mod">
          <ac:chgData name="Ewen Trafford" userId="e520b4bf-a196-48b7-bc10-b1590a457daa" providerId="ADAL" clId="{FAE4F14E-C27C-4B84-87D7-6E24C646B925}" dt="2022-07-20T09:26:37.205" v="136"/>
          <ac:spMkLst>
            <pc:docMk/>
            <pc:sldMk cId="661775352" sldId="340"/>
            <ac:spMk id="3" creationId="{125DC89D-D05E-9771-9226-3C1B0A19742E}"/>
          </ac:spMkLst>
        </pc:spChg>
      </pc:sldChg>
      <pc:sldChg chg="delSp modSp mod">
        <pc:chgData name="Ewen Trafford" userId="e520b4bf-a196-48b7-bc10-b1590a457daa" providerId="ADAL" clId="{FAE4F14E-C27C-4B84-87D7-6E24C646B925}" dt="2022-07-20T15:03:26.753" v="4875" actId="20577"/>
        <pc:sldMkLst>
          <pc:docMk/>
          <pc:sldMk cId="1867798484" sldId="341"/>
        </pc:sldMkLst>
        <pc:spChg chg="mod">
          <ac:chgData name="Ewen Trafford" userId="e520b4bf-a196-48b7-bc10-b1590a457daa" providerId="ADAL" clId="{FAE4F14E-C27C-4B84-87D7-6E24C646B925}" dt="2022-07-20T15:03:26.753" v="4875" actId="20577"/>
          <ac:spMkLst>
            <pc:docMk/>
            <pc:sldMk cId="1867798484" sldId="341"/>
            <ac:spMk id="3" creationId="{B08F7FAB-511F-7730-95EA-CDCD60827684}"/>
          </ac:spMkLst>
        </pc:spChg>
        <pc:picChg chg="del">
          <ac:chgData name="Ewen Trafford" userId="e520b4bf-a196-48b7-bc10-b1590a457daa" providerId="ADAL" clId="{FAE4F14E-C27C-4B84-87D7-6E24C646B925}" dt="2022-07-20T09:24:01.143" v="61" actId="478"/>
          <ac:picMkLst>
            <pc:docMk/>
            <pc:sldMk cId="1867798484" sldId="341"/>
            <ac:picMk id="4" creationId="{266E6B86-D6B0-43F9-AAD5-786D4B0275C5}"/>
          </ac:picMkLst>
        </pc:picChg>
      </pc:sldChg>
      <pc:sldChg chg="del">
        <pc:chgData name="Ewen Trafford" userId="e520b4bf-a196-48b7-bc10-b1590a457daa" providerId="ADAL" clId="{FAE4F14E-C27C-4B84-87D7-6E24C646B925}" dt="2022-07-20T15:03:39.259" v="4880" actId="47"/>
        <pc:sldMkLst>
          <pc:docMk/>
          <pc:sldMk cId="653686736" sldId="342"/>
        </pc:sldMkLst>
      </pc:sldChg>
      <pc:sldChg chg="del">
        <pc:chgData name="Ewen Trafford" userId="e520b4bf-a196-48b7-bc10-b1590a457daa" providerId="ADAL" clId="{FAE4F14E-C27C-4B84-87D7-6E24C646B925}" dt="2022-07-20T15:03:40.609" v="4881" actId="47"/>
        <pc:sldMkLst>
          <pc:docMk/>
          <pc:sldMk cId="236659418" sldId="343"/>
        </pc:sldMkLst>
      </pc:sldChg>
      <pc:sldChg chg="del">
        <pc:chgData name="Ewen Trafford" userId="e520b4bf-a196-48b7-bc10-b1590a457daa" providerId="ADAL" clId="{FAE4F14E-C27C-4B84-87D7-6E24C646B925}" dt="2022-07-20T15:03:41.955" v="4882" actId="47"/>
        <pc:sldMkLst>
          <pc:docMk/>
          <pc:sldMk cId="32424236" sldId="344"/>
        </pc:sldMkLst>
      </pc:sldChg>
      <pc:sldChg chg="modSp mod">
        <pc:chgData name="Ewen Trafford" userId="e520b4bf-a196-48b7-bc10-b1590a457daa" providerId="ADAL" clId="{FAE4F14E-C27C-4B84-87D7-6E24C646B925}" dt="2022-07-20T09:25:49.191" v="112" actId="20577"/>
        <pc:sldMkLst>
          <pc:docMk/>
          <pc:sldMk cId="1628781729" sldId="345"/>
        </pc:sldMkLst>
        <pc:spChg chg="mod">
          <ac:chgData name="Ewen Trafford" userId="e520b4bf-a196-48b7-bc10-b1590a457daa" providerId="ADAL" clId="{FAE4F14E-C27C-4B84-87D7-6E24C646B925}" dt="2022-07-20T09:25:49.191" v="112" actId="20577"/>
          <ac:spMkLst>
            <pc:docMk/>
            <pc:sldMk cId="1628781729" sldId="345"/>
            <ac:spMk id="2" creationId="{74B8B1D9-E25C-F40A-522B-54113616FBDB}"/>
          </ac:spMkLst>
        </pc:spChg>
        <pc:spChg chg="mod">
          <ac:chgData name="Ewen Trafford" userId="e520b4bf-a196-48b7-bc10-b1590a457daa" providerId="ADAL" clId="{FAE4F14E-C27C-4B84-87D7-6E24C646B925}" dt="2022-07-20T09:25:40.823" v="95" actId="20577"/>
          <ac:spMkLst>
            <pc:docMk/>
            <pc:sldMk cId="1628781729" sldId="345"/>
            <ac:spMk id="3" creationId="{8CAB9D22-B491-9AFA-4800-DD173F69AF8D}"/>
          </ac:spMkLst>
        </pc:spChg>
      </pc:sldChg>
      <pc:sldChg chg="modSp del">
        <pc:chgData name="Ewen Trafford" userId="e520b4bf-a196-48b7-bc10-b1590a457daa" providerId="ADAL" clId="{FAE4F14E-C27C-4B84-87D7-6E24C646B925}" dt="2022-07-20T15:03:42.873" v="4883" actId="47"/>
        <pc:sldMkLst>
          <pc:docMk/>
          <pc:sldMk cId="3066457160" sldId="346"/>
        </pc:sldMkLst>
        <pc:spChg chg="mod">
          <ac:chgData name="Ewen Trafford" userId="e520b4bf-a196-48b7-bc10-b1590a457daa" providerId="ADAL" clId="{FAE4F14E-C27C-4B84-87D7-6E24C646B925}" dt="2022-07-20T09:26:37.205" v="136"/>
          <ac:spMkLst>
            <pc:docMk/>
            <pc:sldMk cId="3066457160" sldId="346"/>
            <ac:spMk id="2" creationId="{469EB1B7-A19D-26FC-21D7-5DB81FCC9A5C}"/>
          </ac:spMkLst>
        </pc:spChg>
        <pc:spChg chg="mod">
          <ac:chgData name="Ewen Trafford" userId="e520b4bf-a196-48b7-bc10-b1590a457daa" providerId="ADAL" clId="{FAE4F14E-C27C-4B84-87D7-6E24C646B925}" dt="2022-07-20T09:26:37.205" v="136"/>
          <ac:spMkLst>
            <pc:docMk/>
            <pc:sldMk cId="3066457160" sldId="346"/>
            <ac:spMk id="6" creationId="{8C0A5466-C6A6-09FA-0B0D-161CA462D4C8}"/>
          </ac:spMkLst>
        </pc:spChg>
      </pc:sldChg>
      <pc:sldChg chg="modSp mod">
        <pc:chgData name="Ewen Trafford" userId="e520b4bf-a196-48b7-bc10-b1590a457daa" providerId="ADAL" clId="{FAE4F14E-C27C-4B84-87D7-6E24C646B925}" dt="2022-07-20T09:25:56.615" v="113" actId="20577"/>
        <pc:sldMkLst>
          <pc:docMk/>
          <pc:sldMk cId="2216651741" sldId="349"/>
        </pc:sldMkLst>
        <pc:spChg chg="mod">
          <ac:chgData name="Ewen Trafford" userId="e520b4bf-a196-48b7-bc10-b1590a457daa" providerId="ADAL" clId="{FAE4F14E-C27C-4B84-87D7-6E24C646B925}" dt="2022-07-20T09:25:56.615" v="113" actId="20577"/>
          <ac:spMkLst>
            <pc:docMk/>
            <pc:sldMk cId="2216651741" sldId="349"/>
            <ac:spMk id="3" creationId="{2B2F653F-C430-F503-517E-CDF8E13CD0EC}"/>
          </ac:spMkLst>
        </pc:spChg>
      </pc:sldChg>
      <pc:sldChg chg="delSp modSp mod">
        <pc:chgData name="Ewen Trafford" userId="e520b4bf-a196-48b7-bc10-b1590a457daa" providerId="ADAL" clId="{FAE4F14E-C27C-4B84-87D7-6E24C646B925}" dt="2022-07-20T15:05:37.672" v="4888" actId="113"/>
        <pc:sldMkLst>
          <pc:docMk/>
          <pc:sldMk cId="1044731279" sldId="350"/>
        </pc:sldMkLst>
        <pc:spChg chg="mod">
          <ac:chgData name="Ewen Trafford" userId="e520b4bf-a196-48b7-bc10-b1590a457daa" providerId="ADAL" clId="{FAE4F14E-C27C-4B84-87D7-6E24C646B925}" dt="2022-07-20T09:26:37.205" v="136"/>
          <ac:spMkLst>
            <pc:docMk/>
            <pc:sldMk cId="1044731279" sldId="350"/>
            <ac:spMk id="2" creationId="{09C8F7D6-0DE9-55CD-510F-91955FB21153}"/>
          </ac:spMkLst>
        </pc:spChg>
        <pc:spChg chg="mod">
          <ac:chgData name="Ewen Trafford" userId="e520b4bf-a196-48b7-bc10-b1590a457daa" providerId="ADAL" clId="{FAE4F14E-C27C-4B84-87D7-6E24C646B925}" dt="2022-07-20T15:05:37.672" v="4888" actId="113"/>
          <ac:spMkLst>
            <pc:docMk/>
            <pc:sldMk cId="1044731279" sldId="350"/>
            <ac:spMk id="3" creationId="{3F4AB2AE-64C7-4EAD-7377-33BA885C3FC6}"/>
          </ac:spMkLst>
        </pc:spChg>
        <pc:spChg chg="del">
          <ac:chgData name="Ewen Trafford" userId="e520b4bf-a196-48b7-bc10-b1590a457daa" providerId="ADAL" clId="{FAE4F14E-C27C-4B84-87D7-6E24C646B925}" dt="2022-07-20T09:26:17.053" v="119" actId="478"/>
          <ac:spMkLst>
            <pc:docMk/>
            <pc:sldMk cId="1044731279" sldId="350"/>
            <ac:spMk id="4" creationId="{7E793C40-9CB1-7AF8-E20C-CC91F8CD64DA}"/>
          </ac:spMkLst>
        </pc:spChg>
      </pc:sldChg>
      <pc:sldChg chg="del">
        <pc:chgData name="Ewen Trafford" userId="e520b4bf-a196-48b7-bc10-b1590a457daa" providerId="ADAL" clId="{FAE4F14E-C27C-4B84-87D7-6E24C646B925}" dt="2022-07-20T09:26:08.129" v="116" actId="47"/>
        <pc:sldMkLst>
          <pc:docMk/>
          <pc:sldMk cId="595403577" sldId="352"/>
        </pc:sldMkLst>
      </pc:sldChg>
      <pc:sldChg chg="modSp del mod">
        <pc:chgData name="Ewen Trafford" userId="e520b4bf-a196-48b7-bc10-b1590a457daa" providerId="ADAL" clId="{FAE4F14E-C27C-4B84-87D7-6E24C646B925}" dt="2022-07-20T15:03:46.944" v="4884" actId="47"/>
        <pc:sldMkLst>
          <pc:docMk/>
          <pc:sldMk cId="1709732832" sldId="353"/>
        </pc:sldMkLst>
        <pc:spChg chg="mod">
          <ac:chgData name="Ewen Trafford" userId="e520b4bf-a196-48b7-bc10-b1590a457daa" providerId="ADAL" clId="{FAE4F14E-C27C-4B84-87D7-6E24C646B925}" dt="2022-07-20T09:25:59.494" v="114" actId="20577"/>
          <ac:spMkLst>
            <pc:docMk/>
            <pc:sldMk cId="1709732832" sldId="353"/>
            <ac:spMk id="3" creationId="{B16FC004-1120-161A-ACD7-501951F35921}"/>
          </ac:spMkLst>
        </pc:spChg>
      </pc:sldChg>
      <pc:sldChg chg="modSp mod">
        <pc:chgData name="Ewen Trafford" userId="e520b4bf-a196-48b7-bc10-b1590a457daa" providerId="ADAL" clId="{FAE4F14E-C27C-4B84-87D7-6E24C646B925}" dt="2022-07-20T15:03:55.272" v="4887" actId="20577"/>
        <pc:sldMkLst>
          <pc:docMk/>
          <pc:sldMk cId="1109679171" sldId="354"/>
        </pc:sldMkLst>
        <pc:spChg chg="mod">
          <ac:chgData name="Ewen Trafford" userId="e520b4bf-a196-48b7-bc10-b1590a457daa" providerId="ADAL" clId="{FAE4F14E-C27C-4B84-87D7-6E24C646B925}" dt="2022-07-20T15:03:55.272" v="4887" actId="20577"/>
          <ac:spMkLst>
            <pc:docMk/>
            <pc:sldMk cId="1109679171" sldId="354"/>
            <ac:spMk id="2" creationId="{3D9957A6-0FFC-F702-9FBB-59B31771F969}"/>
          </ac:spMkLst>
        </pc:spChg>
        <pc:spChg chg="mod">
          <ac:chgData name="Ewen Trafford" userId="e520b4bf-a196-48b7-bc10-b1590a457daa" providerId="ADAL" clId="{FAE4F14E-C27C-4B84-87D7-6E24C646B925}" dt="2022-07-20T09:26:02.713" v="115" actId="20577"/>
          <ac:spMkLst>
            <pc:docMk/>
            <pc:sldMk cId="1109679171" sldId="354"/>
            <ac:spMk id="3" creationId="{5204CA75-A31A-AD47-DC3C-C19E15F38F87}"/>
          </ac:spMkLst>
        </pc:spChg>
      </pc:sldChg>
      <pc:sldChg chg="addSp modSp add mod">
        <pc:chgData name="Ewen Trafford" userId="e520b4bf-a196-48b7-bc10-b1590a457daa" providerId="ADAL" clId="{FAE4F14E-C27C-4B84-87D7-6E24C646B925}" dt="2022-07-20T10:07:53.014" v="2690" actId="20577"/>
        <pc:sldMkLst>
          <pc:docMk/>
          <pc:sldMk cId="357386720" sldId="355"/>
        </pc:sldMkLst>
        <pc:spChg chg="mod">
          <ac:chgData name="Ewen Trafford" userId="e520b4bf-a196-48b7-bc10-b1590a457daa" providerId="ADAL" clId="{FAE4F14E-C27C-4B84-87D7-6E24C646B925}" dt="2022-07-20T10:00:27.563" v="2222" actId="20577"/>
          <ac:spMkLst>
            <pc:docMk/>
            <pc:sldMk cId="357386720" sldId="355"/>
            <ac:spMk id="2" creationId="{6CFEA9C0-24EE-EB05-6ED1-A7679B590EE1}"/>
          </ac:spMkLst>
        </pc:spChg>
        <pc:spChg chg="mod">
          <ac:chgData name="Ewen Trafford" userId="e520b4bf-a196-48b7-bc10-b1590a457daa" providerId="ADAL" clId="{FAE4F14E-C27C-4B84-87D7-6E24C646B925}" dt="2022-07-20T10:07:53.014" v="2690" actId="20577"/>
          <ac:spMkLst>
            <pc:docMk/>
            <pc:sldMk cId="357386720" sldId="355"/>
            <ac:spMk id="3" creationId="{25ECF5C8-B231-B34A-F7D8-C96CD9FECAD2}"/>
          </ac:spMkLst>
        </pc:spChg>
        <pc:picChg chg="add mod ord modCrop">
          <ac:chgData name="Ewen Trafford" userId="e520b4bf-a196-48b7-bc10-b1590a457daa" providerId="ADAL" clId="{FAE4F14E-C27C-4B84-87D7-6E24C646B925}" dt="2022-07-20T10:05:34.638" v="2648" actId="1076"/>
          <ac:picMkLst>
            <pc:docMk/>
            <pc:sldMk cId="357386720" sldId="355"/>
            <ac:picMk id="5" creationId="{A5CA9058-D510-4993-A9ED-7CB8F06634CE}"/>
          </ac:picMkLst>
        </pc:picChg>
      </pc:sldChg>
      <pc:sldChg chg="modSp add mod">
        <pc:chgData name="Ewen Trafford" userId="e520b4bf-a196-48b7-bc10-b1590a457daa" providerId="ADAL" clId="{FAE4F14E-C27C-4B84-87D7-6E24C646B925}" dt="2022-07-20T14:56:56.207" v="4862" actId="20577"/>
        <pc:sldMkLst>
          <pc:docMk/>
          <pc:sldMk cId="2227979570" sldId="356"/>
        </pc:sldMkLst>
        <pc:graphicFrameChg chg="mod modGraphic">
          <ac:chgData name="Ewen Trafford" userId="e520b4bf-a196-48b7-bc10-b1590a457daa" providerId="ADAL" clId="{FAE4F14E-C27C-4B84-87D7-6E24C646B925}" dt="2022-07-20T14:56:56.207" v="4862" actId="20577"/>
          <ac:graphicFrameMkLst>
            <pc:docMk/>
            <pc:sldMk cId="2227979570" sldId="356"/>
            <ac:graphicFrameMk id="4" creationId="{852C40F4-3A0C-2C57-5C1A-53EF072895F3}"/>
          </ac:graphicFrameMkLst>
        </pc:graphicFrameChg>
      </pc:sldChg>
    </pc:docChg>
  </pc:docChgLst>
  <pc:docChgLst>
    <pc:chgData name="Frances Meek" userId="f3af35cc-3229-46e1-af36-3525661cfbd3" providerId="ADAL" clId="{82C4CA5C-6B4B-4417-9F35-B0D223AB50F4}"/>
    <pc:docChg chg="custSel addSld modSld">
      <pc:chgData name="Frances Meek" userId="f3af35cc-3229-46e1-af36-3525661cfbd3" providerId="ADAL" clId="{82C4CA5C-6B4B-4417-9F35-B0D223AB50F4}" dt="2022-08-30T12:02:29.546" v="75" actId="14100"/>
      <pc:docMkLst>
        <pc:docMk/>
      </pc:docMkLst>
      <pc:sldChg chg="modSp mod">
        <pc:chgData name="Frances Meek" userId="f3af35cc-3229-46e1-af36-3525661cfbd3" providerId="ADAL" clId="{82C4CA5C-6B4B-4417-9F35-B0D223AB50F4}" dt="2022-08-30T12:02:29.546" v="75" actId="14100"/>
        <pc:sldMkLst>
          <pc:docMk/>
          <pc:sldMk cId="2302005153" sldId="261"/>
        </pc:sldMkLst>
        <pc:spChg chg="mod">
          <ac:chgData name="Frances Meek" userId="f3af35cc-3229-46e1-af36-3525661cfbd3" providerId="ADAL" clId="{82C4CA5C-6B4B-4417-9F35-B0D223AB50F4}" dt="2022-08-30T12:02:29.546" v="75" actId="14100"/>
          <ac:spMkLst>
            <pc:docMk/>
            <pc:sldMk cId="2302005153" sldId="261"/>
            <ac:spMk id="3" creationId="{00000000-0000-0000-0000-000000000000}"/>
          </ac:spMkLst>
        </pc:spChg>
      </pc:sldChg>
      <pc:sldChg chg="modSp mod">
        <pc:chgData name="Frances Meek" userId="f3af35cc-3229-46e1-af36-3525661cfbd3" providerId="ADAL" clId="{82C4CA5C-6B4B-4417-9F35-B0D223AB50F4}" dt="2022-08-30T11:58:29.023" v="22" actId="20577"/>
        <pc:sldMkLst>
          <pc:docMk/>
          <pc:sldMk cId="3993973292" sldId="274"/>
        </pc:sldMkLst>
        <pc:spChg chg="mod">
          <ac:chgData name="Frances Meek" userId="f3af35cc-3229-46e1-af36-3525661cfbd3" providerId="ADAL" clId="{82C4CA5C-6B4B-4417-9F35-B0D223AB50F4}" dt="2022-08-30T11:58:29.023" v="22" actId="20577"/>
          <ac:spMkLst>
            <pc:docMk/>
            <pc:sldMk cId="3993973292" sldId="274"/>
            <ac:spMk id="2" creationId="{00000000-0000-0000-0000-000000000000}"/>
          </ac:spMkLst>
        </pc:spChg>
      </pc:sldChg>
      <pc:sldChg chg="modSp mod">
        <pc:chgData name="Frances Meek" userId="f3af35cc-3229-46e1-af36-3525661cfbd3" providerId="ADAL" clId="{82C4CA5C-6B4B-4417-9F35-B0D223AB50F4}" dt="2022-08-30T11:58:15.763" v="21" actId="20577"/>
        <pc:sldMkLst>
          <pc:docMk/>
          <pc:sldMk cId="3594171061" sldId="331"/>
        </pc:sldMkLst>
        <pc:graphicFrameChg chg="modGraphic">
          <ac:chgData name="Frances Meek" userId="f3af35cc-3229-46e1-af36-3525661cfbd3" providerId="ADAL" clId="{82C4CA5C-6B4B-4417-9F35-B0D223AB50F4}" dt="2022-08-30T11:58:15.763" v="21" actId="20577"/>
          <ac:graphicFrameMkLst>
            <pc:docMk/>
            <pc:sldMk cId="3594171061" sldId="331"/>
            <ac:graphicFrameMk id="4" creationId="{852C40F4-3A0C-2C57-5C1A-53EF072895F3}"/>
          </ac:graphicFrameMkLst>
        </pc:graphicFrameChg>
      </pc:sldChg>
      <pc:sldChg chg="modSp mod">
        <pc:chgData name="Frances Meek" userId="f3af35cc-3229-46e1-af36-3525661cfbd3" providerId="ADAL" clId="{82C4CA5C-6B4B-4417-9F35-B0D223AB50F4}" dt="2022-08-30T11:59:12.115" v="29" actId="20577"/>
        <pc:sldMkLst>
          <pc:docMk/>
          <pc:sldMk cId="2070260529" sldId="339"/>
        </pc:sldMkLst>
        <pc:spChg chg="mod">
          <ac:chgData name="Frances Meek" userId="f3af35cc-3229-46e1-af36-3525661cfbd3" providerId="ADAL" clId="{82C4CA5C-6B4B-4417-9F35-B0D223AB50F4}" dt="2022-08-30T11:59:12.115" v="29" actId="20577"/>
          <ac:spMkLst>
            <pc:docMk/>
            <pc:sldMk cId="2070260529" sldId="339"/>
            <ac:spMk id="3" creationId="{82844BDE-4E6A-0B46-4D93-2FCABBF069E7}"/>
          </ac:spMkLst>
        </pc:spChg>
      </pc:sldChg>
      <pc:sldChg chg="modSp mod">
        <pc:chgData name="Frances Meek" userId="f3af35cc-3229-46e1-af36-3525661cfbd3" providerId="ADAL" clId="{82C4CA5C-6B4B-4417-9F35-B0D223AB50F4}" dt="2022-08-30T12:01:58.436" v="68" actId="20577"/>
        <pc:sldMkLst>
          <pc:docMk/>
          <pc:sldMk cId="1109679171" sldId="354"/>
        </pc:sldMkLst>
        <pc:spChg chg="mod">
          <ac:chgData name="Frances Meek" userId="f3af35cc-3229-46e1-af36-3525661cfbd3" providerId="ADAL" clId="{82C4CA5C-6B4B-4417-9F35-B0D223AB50F4}" dt="2022-08-30T12:01:58.436" v="68" actId="20577"/>
          <ac:spMkLst>
            <pc:docMk/>
            <pc:sldMk cId="1109679171" sldId="354"/>
            <ac:spMk id="3" creationId="{5204CA75-A31A-AD47-DC3C-C19E15F38F87}"/>
          </ac:spMkLst>
        </pc:spChg>
      </pc:sldChg>
      <pc:sldChg chg="modSp mod">
        <pc:chgData name="Frances Meek" userId="f3af35cc-3229-46e1-af36-3525661cfbd3" providerId="ADAL" clId="{82C4CA5C-6B4B-4417-9F35-B0D223AB50F4}" dt="2022-08-30T12:00:35.661" v="31" actId="20577"/>
        <pc:sldMkLst>
          <pc:docMk/>
          <pc:sldMk cId="2499852602" sldId="358"/>
        </pc:sldMkLst>
        <pc:spChg chg="mod">
          <ac:chgData name="Frances Meek" userId="f3af35cc-3229-46e1-af36-3525661cfbd3" providerId="ADAL" clId="{82C4CA5C-6B4B-4417-9F35-B0D223AB50F4}" dt="2022-08-30T12:00:35.661" v="31" actId="20577"/>
          <ac:spMkLst>
            <pc:docMk/>
            <pc:sldMk cId="2499852602" sldId="358"/>
            <ac:spMk id="74" creationId="{E686E7B3-08FC-88A4-8008-7F7C8CF37507}"/>
          </ac:spMkLst>
        </pc:spChg>
      </pc:sldChg>
      <pc:sldChg chg="modSp mod">
        <pc:chgData name="Frances Meek" userId="f3af35cc-3229-46e1-af36-3525661cfbd3" providerId="ADAL" clId="{82C4CA5C-6B4B-4417-9F35-B0D223AB50F4}" dt="2022-08-30T11:57:47.550" v="17" actId="207"/>
        <pc:sldMkLst>
          <pc:docMk/>
          <pc:sldMk cId="4177393134" sldId="359"/>
        </pc:sldMkLst>
        <pc:spChg chg="mod">
          <ac:chgData name="Frances Meek" userId="f3af35cc-3229-46e1-af36-3525661cfbd3" providerId="ADAL" clId="{82C4CA5C-6B4B-4417-9F35-B0D223AB50F4}" dt="2022-08-30T11:57:39.272" v="14" actId="207"/>
          <ac:spMkLst>
            <pc:docMk/>
            <pc:sldMk cId="4177393134" sldId="359"/>
            <ac:spMk id="11" creationId="{109E8A4F-679F-FB6D-5656-1E92F21E35CB}"/>
          </ac:spMkLst>
        </pc:spChg>
        <pc:spChg chg="mod">
          <ac:chgData name="Frances Meek" userId="f3af35cc-3229-46e1-af36-3525661cfbd3" providerId="ADAL" clId="{82C4CA5C-6B4B-4417-9F35-B0D223AB50F4}" dt="2022-08-30T11:57:42.223" v="15" actId="207"/>
          <ac:spMkLst>
            <pc:docMk/>
            <pc:sldMk cId="4177393134" sldId="359"/>
            <ac:spMk id="12" creationId="{8E04ABFC-346B-9899-80B3-B742AA5AB9A5}"/>
          </ac:spMkLst>
        </pc:spChg>
        <pc:spChg chg="mod">
          <ac:chgData name="Frances Meek" userId="f3af35cc-3229-46e1-af36-3525661cfbd3" providerId="ADAL" clId="{82C4CA5C-6B4B-4417-9F35-B0D223AB50F4}" dt="2022-08-30T11:57:47.550" v="17" actId="207"/>
          <ac:spMkLst>
            <pc:docMk/>
            <pc:sldMk cId="4177393134" sldId="359"/>
            <ac:spMk id="13" creationId="{68AA8F21-69E0-BAA4-C775-797D8AF111A6}"/>
          </ac:spMkLst>
        </pc:spChg>
        <pc:spChg chg="mod">
          <ac:chgData name="Frances Meek" userId="f3af35cc-3229-46e1-af36-3525661cfbd3" providerId="ADAL" clId="{82C4CA5C-6B4B-4417-9F35-B0D223AB50F4}" dt="2022-08-30T11:57:36.223" v="13" actId="207"/>
          <ac:spMkLst>
            <pc:docMk/>
            <pc:sldMk cId="4177393134" sldId="359"/>
            <ac:spMk id="14" creationId="{DE7C297C-F22B-9758-CBA4-962E995F790A}"/>
          </ac:spMkLst>
        </pc:spChg>
      </pc:sldChg>
      <pc:sldChg chg="modSp mod">
        <pc:chgData name="Frances Meek" userId="f3af35cc-3229-46e1-af36-3525661cfbd3" providerId="ADAL" clId="{82C4CA5C-6B4B-4417-9F35-B0D223AB50F4}" dt="2022-08-30T12:01:29.914" v="43" actId="20577"/>
        <pc:sldMkLst>
          <pc:docMk/>
          <pc:sldMk cId="1497160864" sldId="360"/>
        </pc:sldMkLst>
        <pc:spChg chg="mod">
          <ac:chgData name="Frances Meek" userId="f3af35cc-3229-46e1-af36-3525661cfbd3" providerId="ADAL" clId="{82C4CA5C-6B4B-4417-9F35-B0D223AB50F4}" dt="2022-08-30T12:01:29.914" v="43" actId="20577"/>
          <ac:spMkLst>
            <pc:docMk/>
            <pc:sldMk cId="1497160864" sldId="360"/>
            <ac:spMk id="3" creationId="{3F4AB2AE-64C7-4EAD-7377-33BA885C3FC6}"/>
          </ac:spMkLst>
        </pc:spChg>
      </pc:sldChg>
      <pc:sldChg chg="new">
        <pc:chgData name="Frances Meek" userId="f3af35cc-3229-46e1-af36-3525661cfbd3" providerId="ADAL" clId="{82C4CA5C-6B4B-4417-9F35-B0D223AB50F4}" dt="2022-08-30T11:52:12.479" v="0" actId="680"/>
        <pc:sldMkLst>
          <pc:docMk/>
          <pc:sldMk cId="1010771248" sldId="364"/>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30/08/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0</a:t>
            </a:fld>
            <a:endParaRPr lang="en-GB"/>
          </a:p>
        </p:txBody>
      </p:sp>
    </p:spTree>
    <p:extLst>
      <p:ext uri="{BB962C8B-B14F-4D97-AF65-F5344CB8AC3E}">
        <p14:creationId xmlns:p14="http://schemas.microsoft.com/office/powerpoint/2010/main" val="21626522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 Id="rId9" Type="http://schemas.openxmlformats.org/officeDocument/2006/relationships/hyperlink" Target="http://www.foodafactoflife.org.uk/" TargetMode="External"/></Relationships>
</file>

<file path=ppt/slideMasters/_rels/slideMaster2.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vmlDrawing" Target="../drawings/vmlDrawing2.vml"/><Relationship Id="rId7"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vmlDrawing" Target="../drawings/vmlDrawing3.vml"/><Relationship Id="rId7" Type="http://schemas.openxmlformats.org/officeDocument/2006/relationships/image" Target="../media/image5.png"/><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vmlDrawing" Target="../drawings/vmlDrawing4.vml"/><Relationship Id="rId7" Type="http://schemas.openxmlformats.org/officeDocument/2006/relationships/image" Target="../media/image5.png"/><Relationship Id="rId2" Type="http://schemas.openxmlformats.org/officeDocument/2006/relationships/theme" Target="../theme/theme4.xml"/><Relationship Id="rId1" Type="http://schemas.openxmlformats.org/officeDocument/2006/relationships/slideLayout" Target="../slideLayouts/slideLayout4.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4"/>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5" imgW="406" imgH="403" progId="TCLayout.ActiveDocument.1">
                  <p:embed/>
                </p:oleObj>
              </mc:Choice>
              <mc:Fallback>
                <p:oleObj name="think-cell Slide" r:id="rId5"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9"/>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4"/>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406" imgH="403" progId="TCLayout.ActiveDocument.1">
                  <p:embed/>
                </p:oleObj>
              </mc:Choice>
              <mc:Fallback>
                <p:oleObj name="think-cell Slide" r:id="rId5"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4"/>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406" imgH="403" progId="TCLayout.ActiveDocument.1">
                  <p:embed/>
                </p:oleObj>
              </mc:Choice>
              <mc:Fallback>
                <p:oleObj name="think-cell Slide" r:id="rId5"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4"/>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406" imgH="403" progId="TCLayout.ActiveDocument.1">
                  <p:embed/>
                </p:oleObj>
              </mc:Choice>
              <mc:Fallback>
                <p:oleObj name="think-cell Slide" r:id="rId5"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3.xml"/><Relationship Id="rId6" Type="http://schemas.openxmlformats.org/officeDocument/2006/relationships/hyperlink" Target="https://thecookeryteacher.com/" TargetMode="External"/><Relationship Id="rId5" Type="http://schemas.openxmlformats.org/officeDocument/2006/relationships/image" Target="../media/image16.jpeg"/><Relationship Id="rId4" Type="http://schemas.openxmlformats.org/officeDocument/2006/relationships/image" Target="../media/image15.jpeg"/></Relationships>
</file>

<file path=ppt/slides/_rels/slide1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image" Target="../media/image17.jpeg"/><Relationship Id="rId1" Type="http://schemas.openxmlformats.org/officeDocument/2006/relationships/slideLayout" Target="../slideLayouts/slideLayout3.xml"/><Relationship Id="rId6" Type="http://schemas.microsoft.com/office/2007/relationships/hdphoto" Target="../media/hdphoto2.wdp"/><Relationship Id="rId5" Type="http://schemas.openxmlformats.org/officeDocument/2006/relationships/image" Target="../media/image19.png"/><Relationship Id="rId4" Type="http://schemas.microsoft.com/office/2007/relationships/hdphoto" Target="../media/hdphoto1.wdp"/><Relationship Id="rId9" Type="http://schemas.openxmlformats.org/officeDocument/2006/relationships/hyperlink" Target="https://thecookeryteacher.com/" TargetMode="External"/></Relationships>
</file>

<file path=ppt/slides/_rels/slide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hyperlink" Target="https://edu.rsc.org/experiments/emulsifiers-in-the-kitchen/1726.article" TargetMode="External"/><Relationship Id="rId3" Type="http://schemas.openxmlformats.org/officeDocument/2006/relationships/hyperlink" Target="https://foodafactoflife.org.uk/11-14-years/cooking/ingredients/" TargetMode="External"/><Relationship Id="rId7" Type="http://schemas.openxmlformats.org/officeDocument/2006/relationships/hyperlink" Target="https://foodafactoflife.org.uk/media/9836/ingredients-functional-characteristics-ko-11-14c.docx" TargetMode="External"/><Relationship Id="rId2" Type="http://schemas.openxmlformats.org/officeDocument/2006/relationships/hyperlink" Target="https://www.foodafactoflife.org.uk/media/5027/emulsions.docx" TargetMode="External"/><Relationship Id="rId1" Type="http://schemas.openxmlformats.org/officeDocument/2006/relationships/slideLayout" Target="../slideLayouts/slideLayout3.xml"/><Relationship Id="rId6" Type="http://schemas.openxmlformats.org/officeDocument/2006/relationships/hyperlink" Target="https://www.foodafactoflife.org.uk/14-16-years/food-science/" TargetMode="External"/><Relationship Id="rId5" Type="http://schemas.openxmlformats.org/officeDocument/2006/relationships/hyperlink" Target="https://www.foodafactoflife.org.uk/11-14-years/cooking/ingredients/#fun" TargetMode="External"/><Relationship Id="rId10" Type="http://schemas.openxmlformats.org/officeDocument/2006/relationships/hyperlink" Target="https://www.chillededucation.org/storecupboard-science-colourful-cabbage-lava-lamps/" TargetMode="External"/><Relationship Id="rId4" Type="http://schemas.openxmlformats.org/officeDocument/2006/relationships/hyperlink" Target="https://foodafactoflife.org.uk/14-16-years/food-science/" TargetMode="External"/><Relationship Id="rId9" Type="http://schemas.openxmlformats.org/officeDocument/2006/relationships/hyperlink" Target="https://www.chillededucation.org/storecupboardscience/" TargetMode="Externa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www.foodafactoflife.org.uk/whole-school/whole-school-approach/guidelines-for-school-education-resources-about-food/" TargetMode="Externa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hyperlink" Target="http://www.foodafactoflife.org.uk/" TargetMode="Externa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3.xml"/><Relationship Id="rId6" Type="http://schemas.openxmlformats.org/officeDocument/2006/relationships/hyperlink" Target="https://thecookeryteacher.com/" TargetMode="External"/><Relationship Id="rId5" Type="http://schemas.openxmlformats.org/officeDocument/2006/relationships/image" Target="../media/image16.jpeg"/><Relationship Id="rId4" Type="http://schemas.openxmlformats.org/officeDocument/2006/relationships/image" Target="../media/image15.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2"/>
            </p:custDataLst>
            <p:extLst>
              <p:ext uri="{D42A27DB-BD31-4B8C-83A1-F6EECF244321}">
                <p14:modId xmlns:p14="http://schemas.microsoft.com/office/powerpoint/2010/main" val="286992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4" imgW="406" imgH="403" progId="TCLayout.ActiveDocument.1">
                  <p:embed/>
                </p:oleObj>
              </mc:Choice>
              <mc:Fallback>
                <p:oleObj name="think-cell Slide" r:id="rId4"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GB"/>
              <a:t>Emulsions</a:t>
            </a:r>
            <a:endParaRPr lang="en-US" sz="3200"/>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2"/>
            </p:custDataLst>
            <p:extLst>
              <p:ext uri="{D42A27DB-BD31-4B8C-83A1-F6EECF244321}">
                <p14:modId xmlns:p14="http://schemas.microsoft.com/office/powerpoint/2010/main" val="80831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5" imgW="406" imgH="403" progId="TCLayout.ActiveDocument.1">
                  <p:embed/>
                </p:oleObj>
              </mc:Choice>
              <mc:Fallback>
                <p:oleObj name="think-cell Slide" r:id="rId5"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Teaching about emulsions</a:t>
            </a:r>
            <a:br>
              <a:rPr lang="en-US">
                <a:latin typeface="Arial"/>
                <a:cs typeface="Arial"/>
              </a:rPr>
            </a:br>
            <a:endParaRPr lang="en-GB"/>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a:p>
          <a:p>
            <a:pPr lvl="0"/>
            <a:endParaRPr lang="en-GB"/>
          </a:p>
          <a:p>
            <a:pPr lvl="0"/>
            <a:endParaRPr lang="en-GB"/>
          </a:p>
          <a:p>
            <a:pPr lvl="0"/>
            <a:endParaRPr lang="en-GB"/>
          </a:p>
          <a:p>
            <a:pPr lvl="0"/>
            <a:endParaRPr lang="en-GB"/>
          </a:p>
          <a:p>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10253400"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GB">
                <a:latin typeface="Arial"/>
                <a:cs typeface="Arial"/>
              </a:rPr>
              <a:t>Explain why oils and water are immiscible (do not stay mixed).</a:t>
            </a:r>
          </a:p>
          <a:p>
            <a:r>
              <a:rPr lang="en-GB">
                <a:latin typeface="Arial"/>
                <a:cs typeface="Arial"/>
              </a:rPr>
              <a:t>Explain how an emulsifier works.</a:t>
            </a:r>
          </a:p>
          <a:p>
            <a:r>
              <a:rPr lang="en-GB">
                <a:latin typeface="Arial"/>
                <a:cs typeface="Arial"/>
              </a:rPr>
              <a:t>Describe some common emulsifiers found in foods.</a:t>
            </a:r>
          </a:p>
          <a:p>
            <a:r>
              <a:rPr lang="en-GB">
                <a:latin typeface="Arial"/>
                <a:cs typeface="Arial"/>
              </a:rPr>
              <a:t>Demonstrate how emulsions can be formed, using examples (e.g. vinaigrette).</a:t>
            </a:r>
          </a:p>
          <a:p>
            <a:endParaRPr lang="en-GB">
              <a:latin typeface="Arial"/>
              <a:cs typeface="Arial"/>
            </a:endParaRPr>
          </a:p>
          <a:p>
            <a:endParaRPr lang="en-GB"/>
          </a:p>
          <a:p>
            <a:pPr marL="628650" indent="-342900">
              <a:buFont typeface="Arial" panose="020B0604020202020204" pitchFamily="34" charset="0"/>
              <a:buChar char="•"/>
            </a:pPr>
            <a:endParaRPr lang="en-GB"/>
          </a:p>
          <a:p>
            <a:pPr marL="0" lvl="0" indent="0">
              <a:buNone/>
            </a:pPr>
            <a:endParaRPr lang="en-GB"/>
          </a:p>
          <a:p>
            <a:pPr lvl="0"/>
            <a:endParaRPr lang="en-GB"/>
          </a:p>
          <a:p>
            <a:pPr lvl="0"/>
            <a:endParaRPr lang="en-GB"/>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Tree>
    <p:extLst>
      <p:ext uri="{BB962C8B-B14F-4D97-AF65-F5344CB8AC3E}">
        <p14:creationId xmlns:p14="http://schemas.microsoft.com/office/powerpoint/2010/main" val="39939732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Introduc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4" y="2571092"/>
            <a:ext cx="5928643" cy="3600000"/>
          </a:xfrm>
        </p:spPr>
        <p:txBody>
          <a:bodyPr/>
          <a:lstStyle/>
          <a:p>
            <a:pPr marL="0" indent="0">
              <a:buNone/>
            </a:pPr>
            <a:r>
              <a:rPr lang="en-GB"/>
              <a:t>An emulsion is a mixture that is made up of two or more liquids that are normally immiscible (meaning that they normally naturally separate).</a:t>
            </a:r>
            <a:endParaRPr lang="en-US"/>
          </a:p>
          <a:p>
            <a:pPr marL="0" indent="0">
              <a:buNone/>
            </a:pPr>
            <a:r>
              <a:rPr lang="en-GB"/>
              <a:t>Oil and water are classic examples of immiscible liquids. If you mix them together and shake them up, they quickly separate. </a:t>
            </a:r>
          </a:p>
          <a:p>
            <a:pPr marL="0" indent="0">
              <a:buNone/>
            </a:pPr>
            <a:r>
              <a:rPr lang="en-GB"/>
              <a:t>This is because the molecules of oil are hydrophobic and hence try to ‘avoid’ water, whilst water molecules are attracted to each other but not to the oil. Oil floats above water in this case, as it is less dense.</a:t>
            </a: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7" name="Picture 6" descr="A picture containing table, food, custard, group&#10;&#10;Description automatically generated">
            <a:extLst>
              <a:ext uri="{FF2B5EF4-FFF2-40B4-BE49-F238E27FC236}">
                <a16:creationId xmlns:a16="http://schemas.microsoft.com/office/drawing/2014/main" id="{45AAE0BE-ABD8-B443-A4C9-D9602D389C13}"/>
              </a:ext>
            </a:extLst>
          </p:cNvPr>
          <p:cNvPicPr>
            <a:picLocks noChangeAspect="1"/>
          </p:cNvPicPr>
          <p:nvPr/>
        </p:nvPicPr>
        <p:blipFill>
          <a:blip r:embed="rId2"/>
          <a:stretch>
            <a:fillRect/>
          </a:stretch>
        </p:blipFill>
        <p:spPr>
          <a:xfrm>
            <a:off x="8201232" y="2571092"/>
            <a:ext cx="3106545" cy="2070221"/>
          </a:xfrm>
          <a:prstGeom prst="rect">
            <a:avLst/>
          </a:prstGeom>
          <a:ln w="28575">
            <a:solidFill>
              <a:srgbClr val="EF9F3F"/>
            </a:solidFill>
          </a:ln>
        </p:spPr>
      </p:pic>
      <p:sp>
        <p:nvSpPr>
          <p:cNvPr id="8" name="TextBox 7">
            <a:extLst>
              <a:ext uri="{FF2B5EF4-FFF2-40B4-BE49-F238E27FC236}">
                <a16:creationId xmlns:a16="http://schemas.microsoft.com/office/drawing/2014/main" id="{B7BE1D43-5C3A-7249-1299-F039338CEE5A}"/>
              </a:ext>
            </a:extLst>
          </p:cNvPr>
          <p:cNvSpPr txBox="1"/>
          <p:nvPr/>
        </p:nvSpPr>
        <p:spPr>
          <a:xfrm>
            <a:off x="7694842" y="4823419"/>
            <a:ext cx="4119327" cy="769441"/>
          </a:xfrm>
          <a:prstGeom prst="rect">
            <a:avLst/>
          </a:prstGeom>
          <a:noFill/>
        </p:spPr>
        <p:txBody>
          <a:bodyPr wrap="square" rtlCol="0">
            <a:spAutoFit/>
          </a:bodyPr>
          <a:lstStyle/>
          <a:p>
            <a:pPr algn="ctr"/>
            <a:r>
              <a:rPr lang="en-GB" sz="1100">
                <a:latin typeface="Arial" panose="020B0604020202020204" pitchFamily="34" charset="0"/>
                <a:cs typeface="Arial" panose="020B0604020202020204" pitchFamily="34" charset="0"/>
              </a:rPr>
              <a:t>When oil and water are mixed together and shaken, the oil is repelled from the water and is attracted to other oil droplets. Eventually these droplets combine into larger and larger droplets until the oil and water are separated.</a:t>
            </a:r>
          </a:p>
        </p:txBody>
      </p:sp>
    </p:spTree>
    <p:extLst>
      <p:ext uri="{BB962C8B-B14F-4D97-AF65-F5344CB8AC3E}">
        <p14:creationId xmlns:p14="http://schemas.microsoft.com/office/powerpoint/2010/main" val="18677984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517A4-E10A-E444-1061-434E356416A6}"/>
              </a:ext>
            </a:extLst>
          </p:cNvPr>
          <p:cNvSpPr>
            <a:spLocks noGrp="1"/>
          </p:cNvSpPr>
          <p:nvPr>
            <p:ph type="ctrTitle"/>
          </p:nvPr>
        </p:nvSpPr>
        <p:spPr/>
        <p:txBody>
          <a:bodyPr/>
          <a:lstStyle/>
          <a:p>
            <a:r>
              <a:rPr lang="en-GB">
                <a:latin typeface="Arial"/>
                <a:cs typeface="Arial"/>
              </a:rPr>
              <a:t>Emulsifiers</a:t>
            </a:r>
            <a:endParaRPr lang="en-US" b="0">
              <a:latin typeface="Arial"/>
              <a:cs typeface="Arial"/>
            </a:endParaRPr>
          </a:p>
          <a:p>
            <a:endParaRPr lang="en-US"/>
          </a:p>
        </p:txBody>
      </p:sp>
      <p:sp>
        <p:nvSpPr>
          <p:cNvPr id="3" name="Subtitle 2">
            <a:extLst>
              <a:ext uri="{FF2B5EF4-FFF2-40B4-BE49-F238E27FC236}">
                <a16:creationId xmlns:a16="http://schemas.microsoft.com/office/drawing/2014/main" id="{CDC99BCA-D4B3-5B9E-85FC-708932B92CBD}"/>
              </a:ext>
            </a:extLst>
          </p:cNvPr>
          <p:cNvSpPr>
            <a:spLocks noGrp="1"/>
          </p:cNvSpPr>
          <p:nvPr>
            <p:ph type="subTitle" idx="1"/>
          </p:nvPr>
        </p:nvSpPr>
        <p:spPr>
          <a:xfrm>
            <a:off x="1169276" y="2571092"/>
            <a:ext cx="5919587" cy="3600000"/>
          </a:xfrm>
        </p:spPr>
        <p:txBody>
          <a:bodyPr/>
          <a:lstStyle/>
          <a:p>
            <a:pPr marL="0" indent="0">
              <a:buNone/>
            </a:pPr>
            <a:r>
              <a:rPr lang="en-GB">
                <a:latin typeface="Arial"/>
                <a:cs typeface="Arial"/>
              </a:rPr>
              <a:t>A number of foods rely on normally immiscible liquids being able to stay together in a mixture. </a:t>
            </a:r>
          </a:p>
          <a:p>
            <a:pPr marL="0" indent="0">
              <a:buNone/>
            </a:pPr>
            <a:r>
              <a:rPr lang="en-GB">
                <a:latin typeface="Arial"/>
                <a:cs typeface="Arial"/>
              </a:rPr>
              <a:t>To achieve this, an emulsifier (sometimes called an emulgent) is added, which contains both hydrophilic and hydrophobic components. </a:t>
            </a:r>
          </a:p>
          <a:p>
            <a:pPr marL="0" indent="0">
              <a:buNone/>
            </a:pPr>
            <a:r>
              <a:rPr lang="en-GB">
                <a:latin typeface="Arial"/>
                <a:cs typeface="Arial"/>
              </a:rPr>
              <a:t>These can help to either suspend drops of oil in water or drops of water in oil.</a:t>
            </a:r>
          </a:p>
          <a:p>
            <a:pPr marL="0" indent="0">
              <a:buNone/>
            </a:pPr>
            <a:r>
              <a:rPr lang="en-GB">
                <a:latin typeface="Arial"/>
                <a:cs typeface="Arial"/>
              </a:rPr>
              <a:t>Common emulsifiers that can be found in the kitchen are egg yolks (which contain lecithin) and mustard (which contains mucilage).</a:t>
            </a:r>
          </a:p>
        </p:txBody>
      </p:sp>
      <p:pic>
        <p:nvPicPr>
          <p:cNvPr id="9" name="Picture 8" descr="A picture containing cup, indoor, glass, drink&#10;&#10;Description automatically generated">
            <a:extLst>
              <a:ext uri="{FF2B5EF4-FFF2-40B4-BE49-F238E27FC236}">
                <a16:creationId xmlns:a16="http://schemas.microsoft.com/office/drawing/2014/main" id="{39B07E9A-148D-EAAA-94D5-EC4D1FE661DB}"/>
              </a:ext>
            </a:extLst>
          </p:cNvPr>
          <p:cNvPicPr>
            <a:picLocks noChangeAspect="1"/>
          </p:cNvPicPr>
          <p:nvPr/>
        </p:nvPicPr>
        <p:blipFill>
          <a:blip r:embed="rId2"/>
          <a:stretch>
            <a:fillRect/>
          </a:stretch>
        </p:blipFill>
        <p:spPr>
          <a:xfrm>
            <a:off x="7245255" y="1862750"/>
            <a:ext cx="3048000" cy="2033016"/>
          </a:xfrm>
          <a:prstGeom prst="rect">
            <a:avLst/>
          </a:prstGeom>
        </p:spPr>
      </p:pic>
      <p:pic>
        <p:nvPicPr>
          <p:cNvPr id="11" name="Picture 10" descr="A picture containing cup, food&#10;&#10;Description automatically generated">
            <a:extLst>
              <a:ext uri="{FF2B5EF4-FFF2-40B4-BE49-F238E27FC236}">
                <a16:creationId xmlns:a16="http://schemas.microsoft.com/office/drawing/2014/main" id="{560C50FD-F8AC-18EC-C2CE-3358E969A702}"/>
              </a:ext>
            </a:extLst>
          </p:cNvPr>
          <p:cNvPicPr>
            <a:picLocks noChangeAspect="1"/>
          </p:cNvPicPr>
          <p:nvPr/>
        </p:nvPicPr>
        <p:blipFill>
          <a:blip r:embed="rId3"/>
          <a:stretch>
            <a:fillRect/>
          </a:stretch>
        </p:blipFill>
        <p:spPr>
          <a:xfrm>
            <a:off x="8944824" y="3978742"/>
            <a:ext cx="3048000" cy="2033016"/>
          </a:xfrm>
          <a:prstGeom prst="rect">
            <a:avLst/>
          </a:prstGeom>
        </p:spPr>
      </p:pic>
    </p:spTree>
    <p:extLst>
      <p:ext uri="{BB962C8B-B14F-4D97-AF65-F5344CB8AC3E}">
        <p14:creationId xmlns:p14="http://schemas.microsoft.com/office/powerpoint/2010/main" val="2046763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02433-BE09-580A-3E8C-C0DDD80ACC8F}"/>
              </a:ext>
            </a:extLst>
          </p:cNvPr>
          <p:cNvSpPr>
            <a:spLocks noGrp="1"/>
          </p:cNvSpPr>
          <p:nvPr>
            <p:ph type="ctrTitle"/>
          </p:nvPr>
        </p:nvSpPr>
        <p:spPr/>
        <p:txBody>
          <a:bodyPr/>
          <a:lstStyle/>
          <a:p>
            <a:r>
              <a:rPr lang="en-US">
                <a:latin typeface="Arial"/>
                <a:cs typeface="Arial"/>
              </a:rPr>
              <a:t>The science of emulsions</a:t>
            </a:r>
            <a:endParaRPr lang="en-US"/>
          </a:p>
        </p:txBody>
      </p:sp>
      <p:sp>
        <p:nvSpPr>
          <p:cNvPr id="3" name="Subtitle 2">
            <a:extLst>
              <a:ext uri="{FF2B5EF4-FFF2-40B4-BE49-F238E27FC236}">
                <a16:creationId xmlns:a16="http://schemas.microsoft.com/office/drawing/2014/main" id="{82844BDE-4E6A-0B46-4D93-2FCABBF069E7}"/>
              </a:ext>
            </a:extLst>
          </p:cNvPr>
          <p:cNvSpPr>
            <a:spLocks noGrp="1"/>
          </p:cNvSpPr>
          <p:nvPr>
            <p:ph type="subTitle" idx="1"/>
          </p:nvPr>
        </p:nvSpPr>
        <p:spPr>
          <a:xfrm>
            <a:off x="1169277" y="2571092"/>
            <a:ext cx="5783784" cy="3600000"/>
          </a:xfrm>
        </p:spPr>
        <p:txBody>
          <a:bodyPr/>
          <a:lstStyle/>
          <a:p>
            <a:pPr marL="0" indent="0">
              <a:buNone/>
            </a:pPr>
            <a:r>
              <a:rPr lang="en-GB">
                <a:latin typeface="Arial"/>
                <a:cs typeface="Arial"/>
              </a:rPr>
              <a:t>On this slide, you can see a basic diagram of how these emulsifiers usually work. </a:t>
            </a:r>
          </a:p>
          <a:p>
            <a:pPr marL="0" indent="0">
              <a:buNone/>
            </a:pPr>
            <a:r>
              <a:rPr lang="en-GB">
                <a:latin typeface="Arial"/>
                <a:cs typeface="Arial"/>
              </a:rPr>
              <a:t>On the left, a droplet of oil is suspended in water. The emulsifier contains both hydrophilic ‘heads’ (dark blue) and hydrophobic ‘tails’ (red). </a:t>
            </a:r>
          </a:p>
          <a:p>
            <a:pPr marL="0" indent="0">
              <a:buNone/>
            </a:pPr>
            <a:r>
              <a:rPr lang="en-GB">
                <a:latin typeface="Arial"/>
                <a:cs typeface="Arial"/>
              </a:rPr>
              <a:t>These arrange themselves around the border between the oil droplet and the water, creating a stable interface. </a:t>
            </a:r>
          </a:p>
          <a:p>
            <a:pPr marL="0" indent="0">
              <a:buNone/>
            </a:pPr>
            <a:endParaRPr lang="en-US"/>
          </a:p>
        </p:txBody>
      </p:sp>
      <p:pic>
        <p:nvPicPr>
          <p:cNvPr id="4" name="Picture 2">
            <a:extLst>
              <a:ext uri="{FF2B5EF4-FFF2-40B4-BE49-F238E27FC236}">
                <a16:creationId xmlns:a16="http://schemas.microsoft.com/office/drawing/2014/main" id="{C0DD9824-1FEA-653E-A8E5-A883F92312F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23430" y="2233961"/>
            <a:ext cx="4077077" cy="234024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C10B83B7-1880-9726-09A0-10F90A6220D5}"/>
              </a:ext>
            </a:extLst>
          </p:cNvPr>
          <p:cNvSpPr txBox="1"/>
          <p:nvPr/>
        </p:nvSpPr>
        <p:spPr>
          <a:xfrm>
            <a:off x="7502304" y="4574203"/>
            <a:ext cx="4119327" cy="938719"/>
          </a:xfrm>
          <a:prstGeom prst="rect">
            <a:avLst/>
          </a:prstGeom>
          <a:noFill/>
        </p:spPr>
        <p:txBody>
          <a:bodyPr wrap="square" rtlCol="0">
            <a:spAutoFit/>
          </a:bodyPr>
          <a:lstStyle/>
          <a:p>
            <a:pPr algn="ctr"/>
            <a:r>
              <a:rPr lang="en-GB" sz="1100">
                <a:latin typeface="Arial" panose="020B0604020202020204" pitchFamily="34" charset="0"/>
                <a:cs typeface="Arial" panose="020B0604020202020204" pitchFamily="34" charset="0"/>
              </a:rPr>
              <a:t>This image shows the two main types of emulsion. The emulsifiers are depicted with blue hydrophilic 'heads', which are attracted to water and red hydrophobic 'tails', which avoid water and stay in the oil. In both cases, this allows small droplets to be suspended, keeping the mixture of oil and water together.</a:t>
            </a:r>
          </a:p>
        </p:txBody>
      </p:sp>
    </p:spTree>
    <p:extLst>
      <p:ext uri="{BB962C8B-B14F-4D97-AF65-F5344CB8AC3E}">
        <p14:creationId xmlns:p14="http://schemas.microsoft.com/office/powerpoint/2010/main" val="20702605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food&#10;&#10;Description automatically generated">
            <a:extLst>
              <a:ext uri="{FF2B5EF4-FFF2-40B4-BE49-F238E27FC236}">
                <a16:creationId xmlns:a16="http://schemas.microsoft.com/office/drawing/2014/main" id="{BC7CCA4E-6F4C-B5B2-976D-EB61B6F44406}"/>
              </a:ext>
            </a:extLst>
          </p:cNvPr>
          <p:cNvPicPr>
            <a:picLocks noChangeAspect="1"/>
          </p:cNvPicPr>
          <p:nvPr/>
        </p:nvPicPr>
        <p:blipFill>
          <a:blip r:embed="rId2"/>
          <a:stretch>
            <a:fillRect/>
          </a:stretch>
        </p:blipFill>
        <p:spPr>
          <a:xfrm>
            <a:off x="7543257" y="4233294"/>
            <a:ext cx="2648755" cy="2023449"/>
          </a:xfrm>
          <a:prstGeom prst="rect">
            <a:avLst/>
          </a:prstGeom>
        </p:spPr>
      </p:pic>
      <p:sp>
        <p:nvSpPr>
          <p:cNvPr id="2" name="Title 1">
            <a:extLst>
              <a:ext uri="{FF2B5EF4-FFF2-40B4-BE49-F238E27FC236}">
                <a16:creationId xmlns:a16="http://schemas.microsoft.com/office/drawing/2014/main" id="{7F902433-BE09-580A-3E8C-C0DDD80ACC8F}"/>
              </a:ext>
            </a:extLst>
          </p:cNvPr>
          <p:cNvSpPr>
            <a:spLocks noGrp="1"/>
          </p:cNvSpPr>
          <p:nvPr>
            <p:ph type="ctrTitle"/>
          </p:nvPr>
        </p:nvSpPr>
        <p:spPr/>
        <p:txBody>
          <a:bodyPr/>
          <a:lstStyle/>
          <a:p>
            <a:r>
              <a:rPr lang="en-US">
                <a:latin typeface="Arial"/>
                <a:cs typeface="Arial"/>
              </a:rPr>
              <a:t>Emulsions in food</a:t>
            </a:r>
            <a:endParaRPr lang="en-US"/>
          </a:p>
        </p:txBody>
      </p:sp>
      <p:sp>
        <p:nvSpPr>
          <p:cNvPr id="3" name="Subtitle 2">
            <a:extLst>
              <a:ext uri="{FF2B5EF4-FFF2-40B4-BE49-F238E27FC236}">
                <a16:creationId xmlns:a16="http://schemas.microsoft.com/office/drawing/2014/main" id="{82844BDE-4E6A-0B46-4D93-2FCABBF069E7}"/>
              </a:ext>
            </a:extLst>
          </p:cNvPr>
          <p:cNvSpPr>
            <a:spLocks noGrp="1"/>
          </p:cNvSpPr>
          <p:nvPr>
            <p:ph type="subTitle" idx="1"/>
          </p:nvPr>
        </p:nvSpPr>
        <p:spPr>
          <a:xfrm>
            <a:off x="1169277" y="2571091"/>
            <a:ext cx="6272672" cy="3685651"/>
          </a:xfrm>
        </p:spPr>
        <p:txBody>
          <a:bodyPr/>
          <a:lstStyle/>
          <a:p>
            <a:pPr marL="0" indent="0">
              <a:buNone/>
            </a:pPr>
            <a:r>
              <a:rPr lang="en-GB">
                <a:latin typeface="Arial"/>
                <a:cs typeface="Arial"/>
              </a:rPr>
              <a:t>Vinaigrettes are classic examples of an oil in water emulsion. Depending on the amount or type of emulsifier used, vinaigrettes can separate over time and require shaking to remix the liquids.</a:t>
            </a:r>
          </a:p>
          <a:p>
            <a:pPr marL="0" indent="0">
              <a:buNone/>
            </a:pPr>
            <a:r>
              <a:rPr lang="en-GB">
                <a:latin typeface="Arial"/>
                <a:cs typeface="Arial"/>
              </a:rPr>
              <a:t>Mayonnaise is another example of an oil in water emulsion. Lecithin from egg yolk helps to bind water and oil. Adding mustard can add more lecithin and increase stability.</a:t>
            </a:r>
          </a:p>
          <a:p>
            <a:pPr marL="0" indent="0">
              <a:buNone/>
            </a:pPr>
            <a:r>
              <a:rPr lang="en-GB">
                <a:latin typeface="Arial"/>
                <a:cs typeface="Arial"/>
              </a:rPr>
              <a:t>Butter is an example of a water in oil emulsion.</a:t>
            </a:r>
          </a:p>
          <a:p>
            <a:pPr marL="0" indent="0">
              <a:buNone/>
            </a:pPr>
            <a:r>
              <a:rPr lang="en-GB">
                <a:latin typeface="Arial"/>
                <a:cs typeface="Arial"/>
              </a:rPr>
              <a:t>Mayonnaise and butter tend to be more stable emulsions than vinaigrettes, but may still slowly separate over time.</a:t>
            </a:r>
          </a:p>
        </p:txBody>
      </p:sp>
      <p:pic>
        <p:nvPicPr>
          <p:cNvPr id="7" name="Picture 6" descr="A glass of liquid&#10;&#10;Description automatically generated with low confidence">
            <a:extLst>
              <a:ext uri="{FF2B5EF4-FFF2-40B4-BE49-F238E27FC236}">
                <a16:creationId xmlns:a16="http://schemas.microsoft.com/office/drawing/2014/main" id="{EB7A8686-EE45-8684-9760-797B99F42199}"/>
              </a:ext>
            </a:extLst>
          </p:cNvPr>
          <p:cNvPicPr>
            <a:picLocks noChangeAspect="1"/>
          </p:cNvPicPr>
          <p:nvPr/>
        </p:nvPicPr>
        <p:blipFill rotWithShape="1">
          <a:blip r:embed="rId3"/>
          <a:srcRect l="4975" t="33301" r="2470" b="7079"/>
          <a:stretch/>
        </p:blipFill>
        <p:spPr>
          <a:xfrm>
            <a:off x="7866994" y="1923798"/>
            <a:ext cx="2001282" cy="1718858"/>
          </a:xfrm>
          <a:prstGeom prst="rect">
            <a:avLst/>
          </a:prstGeom>
        </p:spPr>
      </p:pic>
      <p:pic>
        <p:nvPicPr>
          <p:cNvPr id="10" name="Picture 9">
            <a:extLst>
              <a:ext uri="{FF2B5EF4-FFF2-40B4-BE49-F238E27FC236}">
                <a16:creationId xmlns:a16="http://schemas.microsoft.com/office/drawing/2014/main" id="{61F032F2-D06C-D25B-6BCD-DF6BF44FC827}"/>
              </a:ext>
            </a:extLst>
          </p:cNvPr>
          <p:cNvPicPr>
            <a:picLocks noChangeAspect="1"/>
          </p:cNvPicPr>
          <p:nvPr/>
        </p:nvPicPr>
        <p:blipFill>
          <a:blip r:embed="rId4"/>
          <a:stretch>
            <a:fillRect/>
          </a:stretch>
        </p:blipFill>
        <p:spPr>
          <a:xfrm>
            <a:off x="10109840" y="2783227"/>
            <a:ext cx="2082160" cy="2050928"/>
          </a:xfrm>
          <a:prstGeom prst="rect">
            <a:avLst/>
          </a:prstGeom>
        </p:spPr>
      </p:pic>
    </p:spTree>
    <p:extLst>
      <p:ext uri="{BB962C8B-B14F-4D97-AF65-F5344CB8AC3E}">
        <p14:creationId xmlns:p14="http://schemas.microsoft.com/office/powerpoint/2010/main" val="40387679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E7EE5-0E3D-D184-B65F-84EC76213A72}"/>
              </a:ext>
            </a:extLst>
          </p:cNvPr>
          <p:cNvSpPr>
            <a:spLocks noGrp="1"/>
          </p:cNvSpPr>
          <p:nvPr>
            <p:ph type="ctrTitle"/>
          </p:nvPr>
        </p:nvSpPr>
        <p:spPr/>
        <p:txBody>
          <a:bodyPr/>
          <a:lstStyle/>
          <a:p>
            <a:r>
              <a:rPr lang="en-GB"/>
              <a:t>Emulsions - mayonnaise</a:t>
            </a:r>
          </a:p>
        </p:txBody>
      </p:sp>
      <p:sp>
        <p:nvSpPr>
          <p:cNvPr id="74" name="Subtitle 2">
            <a:extLst>
              <a:ext uri="{FF2B5EF4-FFF2-40B4-BE49-F238E27FC236}">
                <a16:creationId xmlns:a16="http://schemas.microsoft.com/office/drawing/2014/main" id="{E686E7B3-08FC-88A4-8008-7F7C8CF37507}"/>
              </a:ext>
            </a:extLst>
          </p:cNvPr>
          <p:cNvSpPr txBox="1">
            <a:spLocks/>
          </p:cNvSpPr>
          <p:nvPr/>
        </p:nvSpPr>
        <p:spPr>
          <a:xfrm>
            <a:off x="1169274" y="2545289"/>
            <a:ext cx="4181324" cy="3375677"/>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US"/>
              <a:t>Mayonnaise is an oil in water emulsion. </a:t>
            </a:r>
          </a:p>
          <a:p>
            <a:pPr marL="0" indent="0">
              <a:buFont typeface="Arial" charset="0"/>
              <a:buNone/>
            </a:pPr>
            <a:r>
              <a:rPr lang="en-US"/>
              <a:t>Egg yolk and mustard are mixed and act as emulsifiers.</a:t>
            </a:r>
          </a:p>
          <a:p>
            <a:pPr marL="0" indent="0">
              <a:buFont typeface="Arial" charset="0"/>
              <a:buNone/>
            </a:pPr>
            <a:r>
              <a:rPr lang="en-US"/>
              <a:t>Oil is then slowly added and whisked in. If the oil is added too quickly, the emulsion becomes unstable and collapses.</a:t>
            </a:r>
          </a:p>
          <a:p>
            <a:pPr marL="0" indent="0">
              <a:buFont typeface="Arial" charset="0"/>
              <a:buNone/>
            </a:pPr>
            <a:r>
              <a:rPr lang="en-US"/>
              <a:t>Vinegar is added to help preserve the mayonnaise and add </a:t>
            </a:r>
            <a:r>
              <a:rPr lang="en-US" err="1"/>
              <a:t>flavour</a:t>
            </a:r>
            <a:r>
              <a:rPr lang="en-US"/>
              <a:t>.</a:t>
            </a:r>
          </a:p>
          <a:p>
            <a:pPr marL="0" indent="0">
              <a:buFont typeface="Arial" charset="0"/>
              <a:buNone/>
            </a:pPr>
            <a:endParaRPr lang="en-US"/>
          </a:p>
        </p:txBody>
      </p:sp>
      <p:pic>
        <p:nvPicPr>
          <p:cNvPr id="3" name="Content Placeholder 4">
            <a:extLst>
              <a:ext uri="{FF2B5EF4-FFF2-40B4-BE49-F238E27FC236}">
                <a16:creationId xmlns:a16="http://schemas.microsoft.com/office/drawing/2014/main" id="{8B32F244-0A8D-5012-2FC0-EB4456BF331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998" t="632" r="10755"/>
          <a:stretch/>
        </p:blipFill>
        <p:spPr>
          <a:xfrm>
            <a:off x="5333180" y="2817823"/>
            <a:ext cx="2278194" cy="1738504"/>
          </a:xfrm>
          <a:prstGeom prst="ellipse">
            <a:avLst/>
          </a:prstGeom>
          <a:ln>
            <a:noFill/>
          </a:ln>
          <a:effectLst>
            <a:softEdge rad="112500"/>
          </a:effectLst>
        </p:spPr>
      </p:pic>
      <p:pic>
        <p:nvPicPr>
          <p:cNvPr id="4" name="Picture 3">
            <a:extLst>
              <a:ext uri="{FF2B5EF4-FFF2-40B4-BE49-F238E27FC236}">
                <a16:creationId xmlns:a16="http://schemas.microsoft.com/office/drawing/2014/main" id="{4EF12802-1338-3E35-9E71-7CDDEAF5D8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44077" y="2950378"/>
            <a:ext cx="2331203" cy="1554135"/>
          </a:xfrm>
          <a:prstGeom prst="ellipse">
            <a:avLst/>
          </a:prstGeom>
          <a:ln>
            <a:noFill/>
          </a:ln>
          <a:effectLst>
            <a:softEdge rad="112500"/>
          </a:effectLst>
        </p:spPr>
      </p:pic>
      <p:pic>
        <p:nvPicPr>
          <p:cNvPr id="5" name="Picture 4">
            <a:extLst>
              <a:ext uri="{FF2B5EF4-FFF2-40B4-BE49-F238E27FC236}">
                <a16:creationId xmlns:a16="http://schemas.microsoft.com/office/drawing/2014/main" id="{B048E703-1D39-663E-A9AA-B6E0E1ADCBD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27921" y="1467814"/>
            <a:ext cx="2619255" cy="1746170"/>
          </a:xfrm>
          <a:prstGeom prst="ellipse">
            <a:avLst/>
          </a:prstGeom>
          <a:ln>
            <a:noFill/>
          </a:ln>
          <a:effectLst>
            <a:softEdge rad="112500"/>
          </a:effectLst>
        </p:spPr>
      </p:pic>
      <p:pic>
        <p:nvPicPr>
          <p:cNvPr id="6" name="Picture 5">
            <a:extLst>
              <a:ext uri="{FF2B5EF4-FFF2-40B4-BE49-F238E27FC236}">
                <a16:creationId xmlns:a16="http://schemas.microsoft.com/office/drawing/2014/main" id="{C44E7EEC-A445-7A1C-5BCC-6A0F2E2DF76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84646" y="4262802"/>
            <a:ext cx="2562530" cy="1708353"/>
          </a:xfrm>
          <a:prstGeom prst="ellipse">
            <a:avLst/>
          </a:prstGeom>
          <a:ln>
            <a:noFill/>
          </a:ln>
          <a:effectLst>
            <a:softEdge rad="112500"/>
          </a:effectLst>
        </p:spPr>
      </p:pic>
      <p:cxnSp>
        <p:nvCxnSpPr>
          <p:cNvPr id="7" name="Straight Arrow Connector 6">
            <a:extLst>
              <a:ext uri="{FF2B5EF4-FFF2-40B4-BE49-F238E27FC236}">
                <a16:creationId xmlns:a16="http://schemas.microsoft.com/office/drawing/2014/main" id="{D1A67964-286C-2E04-DD7F-D705DC8D7474}"/>
              </a:ext>
            </a:extLst>
          </p:cNvPr>
          <p:cNvCxnSpPr>
            <a:cxnSpLocks/>
          </p:cNvCxnSpPr>
          <p:nvPr/>
        </p:nvCxnSpPr>
        <p:spPr>
          <a:xfrm flipV="1">
            <a:off x="6987615" y="2762113"/>
            <a:ext cx="623759" cy="515910"/>
          </a:xfrm>
          <a:prstGeom prst="straightConnector1">
            <a:avLst/>
          </a:prstGeom>
          <a:ln w="76200">
            <a:solidFill>
              <a:schemeClr val="accent2"/>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237F7B4F-E7C6-F076-DCD4-2384FE60AAE1}"/>
              </a:ext>
            </a:extLst>
          </p:cNvPr>
          <p:cNvCxnSpPr>
            <a:cxnSpLocks/>
          </p:cNvCxnSpPr>
          <p:nvPr/>
        </p:nvCxnSpPr>
        <p:spPr>
          <a:xfrm>
            <a:off x="9463723" y="2705853"/>
            <a:ext cx="623759" cy="515910"/>
          </a:xfrm>
          <a:prstGeom prst="straightConnector1">
            <a:avLst/>
          </a:prstGeom>
          <a:ln w="76200">
            <a:solidFill>
              <a:schemeClr val="accent2"/>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C7BD597F-E384-7E0F-E276-B10040798D31}"/>
              </a:ext>
            </a:extLst>
          </p:cNvPr>
          <p:cNvCxnSpPr>
            <a:cxnSpLocks/>
          </p:cNvCxnSpPr>
          <p:nvPr/>
        </p:nvCxnSpPr>
        <p:spPr>
          <a:xfrm flipH="1">
            <a:off x="9488697" y="4233127"/>
            <a:ext cx="623759" cy="515910"/>
          </a:xfrm>
          <a:prstGeom prst="straightConnector1">
            <a:avLst/>
          </a:prstGeom>
          <a:ln w="76200">
            <a:solidFill>
              <a:schemeClr val="accent2"/>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09E8A4F-679F-FB6D-5656-1E92F21E35CB}"/>
              </a:ext>
            </a:extLst>
          </p:cNvPr>
          <p:cNvSpPr txBox="1"/>
          <p:nvPr/>
        </p:nvSpPr>
        <p:spPr>
          <a:xfrm>
            <a:off x="5395218" y="2576629"/>
            <a:ext cx="1889428" cy="276999"/>
          </a:xfrm>
          <a:prstGeom prst="rect">
            <a:avLst/>
          </a:prstGeom>
          <a:noFill/>
        </p:spPr>
        <p:txBody>
          <a:bodyPr wrap="square" rtlCol="0">
            <a:spAutoFit/>
          </a:bodyPr>
          <a:lstStyle/>
          <a:p>
            <a:pPr algn="ctr"/>
            <a:r>
              <a:rPr lang="en-GB" sz="1200" b="1">
                <a:solidFill>
                  <a:srgbClr val="002060"/>
                </a:solidFill>
                <a:latin typeface="Arial" panose="020B0604020202020204" pitchFamily="34" charset="0"/>
                <a:cs typeface="Arial" panose="020B0604020202020204" pitchFamily="34" charset="0"/>
              </a:rPr>
              <a:t>Egg yolk and mustard</a:t>
            </a:r>
          </a:p>
        </p:txBody>
      </p:sp>
      <p:sp>
        <p:nvSpPr>
          <p:cNvPr id="12" name="TextBox 11">
            <a:extLst>
              <a:ext uri="{FF2B5EF4-FFF2-40B4-BE49-F238E27FC236}">
                <a16:creationId xmlns:a16="http://schemas.microsoft.com/office/drawing/2014/main" id="{8E04ABFC-346B-9899-80B3-B742AA5AB9A5}"/>
              </a:ext>
            </a:extLst>
          </p:cNvPr>
          <p:cNvSpPr txBox="1"/>
          <p:nvPr/>
        </p:nvSpPr>
        <p:spPr>
          <a:xfrm>
            <a:off x="9746361" y="2715881"/>
            <a:ext cx="1889428" cy="276999"/>
          </a:xfrm>
          <a:prstGeom prst="rect">
            <a:avLst/>
          </a:prstGeom>
          <a:noFill/>
        </p:spPr>
        <p:txBody>
          <a:bodyPr wrap="square" rtlCol="0">
            <a:spAutoFit/>
          </a:bodyPr>
          <a:lstStyle/>
          <a:p>
            <a:pPr algn="ctr"/>
            <a:r>
              <a:rPr lang="en-GB" sz="1200" b="1">
                <a:solidFill>
                  <a:srgbClr val="002060"/>
                </a:solidFill>
                <a:latin typeface="Arial" panose="020B0604020202020204" pitchFamily="34" charset="0"/>
                <a:cs typeface="Arial" panose="020B0604020202020204" pitchFamily="34" charset="0"/>
              </a:rPr>
              <a:t>Oil whisked in slowly </a:t>
            </a:r>
          </a:p>
        </p:txBody>
      </p:sp>
      <p:sp>
        <p:nvSpPr>
          <p:cNvPr id="13" name="TextBox 12">
            <a:extLst>
              <a:ext uri="{FF2B5EF4-FFF2-40B4-BE49-F238E27FC236}">
                <a16:creationId xmlns:a16="http://schemas.microsoft.com/office/drawing/2014/main" id="{68AA8F21-69E0-BAA4-C775-797D8AF111A6}"/>
              </a:ext>
            </a:extLst>
          </p:cNvPr>
          <p:cNvSpPr txBox="1"/>
          <p:nvPr/>
        </p:nvSpPr>
        <p:spPr>
          <a:xfrm>
            <a:off x="9667220" y="4977072"/>
            <a:ext cx="1414481" cy="276999"/>
          </a:xfrm>
          <a:prstGeom prst="rect">
            <a:avLst/>
          </a:prstGeom>
          <a:noFill/>
        </p:spPr>
        <p:txBody>
          <a:bodyPr wrap="square" rtlCol="0">
            <a:spAutoFit/>
          </a:bodyPr>
          <a:lstStyle/>
          <a:p>
            <a:pPr algn="ctr"/>
            <a:r>
              <a:rPr lang="en-GB" sz="1200" b="1">
                <a:solidFill>
                  <a:srgbClr val="002060"/>
                </a:solidFill>
                <a:latin typeface="Arial" panose="020B0604020202020204" pitchFamily="34" charset="0"/>
                <a:cs typeface="Arial" panose="020B0604020202020204" pitchFamily="34" charset="0"/>
              </a:rPr>
              <a:t>Vinegar added*</a:t>
            </a:r>
          </a:p>
        </p:txBody>
      </p:sp>
      <p:sp>
        <p:nvSpPr>
          <p:cNvPr id="14" name="TextBox 13">
            <a:extLst>
              <a:ext uri="{FF2B5EF4-FFF2-40B4-BE49-F238E27FC236}">
                <a16:creationId xmlns:a16="http://schemas.microsoft.com/office/drawing/2014/main" id="{DE7C297C-F22B-9758-CBA4-962E995F790A}"/>
              </a:ext>
            </a:extLst>
          </p:cNvPr>
          <p:cNvSpPr txBox="1"/>
          <p:nvPr/>
        </p:nvSpPr>
        <p:spPr>
          <a:xfrm>
            <a:off x="10112456" y="5920966"/>
            <a:ext cx="1938490" cy="246221"/>
          </a:xfrm>
          <a:prstGeom prst="rect">
            <a:avLst/>
          </a:prstGeom>
          <a:noFill/>
        </p:spPr>
        <p:txBody>
          <a:bodyPr wrap="square" rtlCol="0">
            <a:spAutoFit/>
          </a:bodyPr>
          <a:lstStyle/>
          <a:p>
            <a:pPr algn="ctr"/>
            <a:r>
              <a:rPr lang="en-GB" sz="1000">
                <a:solidFill>
                  <a:srgbClr val="002060"/>
                </a:solidFill>
                <a:latin typeface="Arial" panose="020B0604020202020204" pitchFamily="34" charset="0"/>
                <a:cs typeface="Arial" panose="020B0604020202020204" pitchFamily="34" charset="0"/>
              </a:rPr>
              <a:t>*Acid makes the colour paler</a:t>
            </a:r>
          </a:p>
        </p:txBody>
      </p:sp>
      <p:sp>
        <p:nvSpPr>
          <p:cNvPr id="10" name="TextBox 9">
            <a:extLst>
              <a:ext uri="{FF2B5EF4-FFF2-40B4-BE49-F238E27FC236}">
                <a16:creationId xmlns:a16="http://schemas.microsoft.com/office/drawing/2014/main" id="{C943567B-AC36-8DF3-E794-062557745BDF}"/>
              </a:ext>
            </a:extLst>
          </p:cNvPr>
          <p:cNvSpPr txBox="1"/>
          <p:nvPr/>
        </p:nvSpPr>
        <p:spPr>
          <a:xfrm>
            <a:off x="5878748" y="6000830"/>
            <a:ext cx="2698346" cy="43088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a:latin typeface="Arial"/>
                <a:cs typeface="Arial"/>
              </a:rPr>
              <a:t>Photographs courtesy of Barbara Monks @ </a:t>
            </a:r>
            <a:r>
              <a:rPr lang="en-US" sz="1100" b="1">
                <a:latin typeface="Arial"/>
                <a:ea typeface="+mn-lt"/>
                <a:cs typeface="+mn-lt"/>
                <a:hlinkClick r:id="rId6"/>
              </a:rPr>
              <a:t>https://thecookeryteacher.com/</a:t>
            </a:r>
            <a:r>
              <a:rPr lang="en-US" sz="1100">
                <a:latin typeface="Arial"/>
                <a:ea typeface="+mn-lt"/>
                <a:cs typeface="+mn-lt"/>
              </a:rPr>
              <a:t> </a:t>
            </a:r>
            <a:endParaRPr lang="en-US" sz="1100">
              <a:latin typeface="Arial"/>
              <a:cs typeface="Arial"/>
            </a:endParaRPr>
          </a:p>
        </p:txBody>
      </p:sp>
    </p:spTree>
    <p:extLst>
      <p:ext uri="{BB962C8B-B14F-4D97-AF65-F5344CB8AC3E}">
        <p14:creationId xmlns:p14="http://schemas.microsoft.com/office/powerpoint/2010/main" val="37736569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8F7D6-0DE9-55CD-510F-91955FB21153}"/>
              </a:ext>
            </a:extLst>
          </p:cNvPr>
          <p:cNvSpPr>
            <a:spLocks noGrp="1"/>
          </p:cNvSpPr>
          <p:nvPr>
            <p:ph type="ctrTitle"/>
          </p:nvPr>
        </p:nvSpPr>
        <p:spPr/>
        <p:txBody>
          <a:bodyPr/>
          <a:lstStyle/>
          <a:p>
            <a:r>
              <a:rPr lang="en-US">
                <a:latin typeface="Arial"/>
                <a:cs typeface="Arial"/>
              </a:rPr>
              <a:t>Emulsions – Hollandaise sauce</a:t>
            </a:r>
            <a:endParaRPr lang="en-US"/>
          </a:p>
        </p:txBody>
      </p:sp>
      <p:sp>
        <p:nvSpPr>
          <p:cNvPr id="3" name="Subtitle 2">
            <a:extLst>
              <a:ext uri="{FF2B5EF4-FFF2-40B4-BE49-F238E27FC236}">
                <a16:creationId xmlns:a16="http://schemas.microsoft.com/office/drawing/2014/main" id="{3F4AB2AE-64C7-4EAD-7377-33BA885C3FC6}"/>
              </a:ext>
            </a:extLst>
          </p:cNvPr>
          <p:cNvSpPr>
            <a:spLocks noGrp="1"/>
          </p:cNvSpPr>
          <p:nvPr>
            <p:ph type="subTitle" idx="1"/>
          </p:nvPr>
        </p:nvSpPr>
        <p:spPr>
          <a:xfrm>
            <a:off x="1169273" y="2283798"/>
            <a:ext cx="5593645" cy="3600000"/>
          </a:xfrm>
        </p:spPr>
        <p:txBody>
          <a:bodyPr/>
          <a:lstStyle/>
          <a:p>
            <a:pPr marL="0" indent="0">
              <a:buNone/>
            </a:pPr>
            <a:r>
              <a:rPr lang="en-GB">
                <a:latin typeface="Arial"/>
                <a:cs typeface="Arial"/>
              </a:rPr>
              <a:t>In a Hollandaise, butter is emulsified by egg yolks.</a:t>
            </a:r>
          </a:p>
          <a:p>
            <a:pPr marL="0" indent="0">
              <a:buNone/>
            </a:pPr>
            <a:r>
              <a:rPr lang="en-GB">
                <a:latin typeface="Arial"/>
                <a:cs typeface="Arial"/>
              </a:rPr>
              <a:t>Over hot water:</a:t>
            </a:r>
          </a:p>
          <a:p>
            <a:r>
              <a:rPr lang="en-GB">
                <a:latin typeface="Arial"/>
                <a:cs typeface="Arial"/>
              </a:rPr>
              <a:t>Add butter cubes to melt, one at a time</a:t>
            </a:r>
          </a:p>
          <a:p>
            <a:r>
              <a:rPr lang="en-GB" b="1">
                <a:latin typeface="Arial"/>
                <a:cs typeface="Arial"/>
              </a:rPr>
              <a:t>Whisk continuously </a:t>
            </a:r>
            <a:r>
              <a:rPr lang="en-GB">
                <a:latin typeface="Arial"/>
                <a:cs typeface="Arial"/>
              </a:rPr>
              <a:t>and keep the temperature even</a:t>
            </a:r>
          </a:p>
          <a:p>
            <a:r>
              <a:rPr lang="en-GB">
                <a:latin typeface="Arial"/>
                <a:cs typeface="Arial"/>
              </a:rPr>
              <a:t>Lemon juice aids flavour and preserves</a:t>
            </a:r>
          </a:p>
          <a:p>
            <a:r>
              <a:rPr lang="en-GB">
                <a:latin typeface="Arial"/>
                <a:cs typeface="Arial"/>
              </a:rPr>
              <a:t>Seasonings can be added for flavour</a:t>
            </a:r>
          </a:p>
          <a:p>
            <a:pPr marL="0" indent="0">
              <a:buNone/>
            </a:pPr>
            <a:r>
              <a:rPr lang="en-GB">
                <a:latin typeface="Arial"/>
                <a:cs typeface="Arial"/>
              </a:rPr>
              <a:t>The temperature should rise to over 63°C.</a:t>
            </a:r>
          </a:p>
          <a:p>
            <a:pPr marL="0" indent="0">
              <a:buNone/>
            </a:pPr>
            <a:r>
              <a:rPr lang="en-GB">
                <a:latin typeface="Arial"/>
                <a:cs typeface="Arial"/>
              </a:rPr>
              <a:t>If the sauce curdles, start a new bowl with a new egg yolk. Gradually add and whisk in the curdled mixture.</a:t>
            </a:r>
          </a:p>
          <a:p>
            <a:pPr marL="0" indent="0">
              <a:buNone/>
            </a:pPr>
            <a:endParaRPr lang="en-US"/>
          </a:p>
          <a:p>
            <a:pPr marL="0" indent="0">
              <a:buNone/>
            </a:pPr>
            <a:endParaRPr lang="en-US"/>
          </a:p>
          <a:p>
            <a:pPr marL="0" indent="0">
              <a:buNone/>
            </a:pPr>
            <a:endParaRPr lang="en-US"/>
          </a:p>
          <a:p>
            <a:pPr marL="0" indent="0">
              <a:buNone/>
            </a:pPr>
            <a:endParaRPr lang="en-US"/>
          </a:p>
        </p:txBody>
      </p:sp>
      <p:pic>
        <p:nvPicPr>
          <p:cNvPr id="4" name="Picture 3">
            <a:extLst>
              <a:ext uri="{FF2B5EF4-FFF2-40B4-BE49-F238E27FC236}">
                <a16:creationId xmlns:a16="http://schemas.microsoft.com/office/drawing/2014/main" id="{9D4C1CCF-17C6-2449-0E38-5367D41DAE1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927970" y="2551694"/>
            <a:ext cx="2169189" cy="1325910"/>
          </a:xfrm>
          <a:prstGeom prst="rect">
            <a:avLst/>
          </a:prstGeom>
        </p:spPr>
      </p:pic>
      <p:pic>
        <p:nvPicPr>
          <p:cNvPr id="5" name="Picture 4">
            <a:extLst>
              <a:ext uri="{FF2B5EF4-FFF2-40B4-BE49-F238E27FC236}">
                <a16:creationId xmlns:a16="http://schemas.microsoft.com/office/drawing/2014/main" id="{8847E831-084D-5DFC-9234-A2B9EC815E4C}"/>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tretch>
            <a:fillRect/>
          </a:stretch>
        </p:blipFill>
        <p:spPr>
          <a:xfrm>
            <a:off x="9702077" y="2543562"/>
            <a:ext cx="1988864" cy="1325910"/>
          </a:xfrm>
          <a:prstGeom prst="rect">
            <a:avLst/>
          </a:prstGeom>
        </p:spPr>
      </p:pic>
      <p:pic>
        <p:nvPicPr>
          <p:cNvPr id="6" name="Picture 5">
            <a:extLst>
              <a:ext uri="{FF2B5EF4-FFF2-40B4-BE49-F238E27FC236}">
                <a16:creationId xmlns:a16="http://schemas.microsoft.com/office/drawing/2014/main" id="{D6AEB8A5-C265-8913-F5ED-E291F007A237}"/>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9702078" y="4409836"/>
            <a:ext cx="1988865" cy="1325910"/>
          </a:xfrm>
          <a:prstGeom prst="rect">
            <a:avLst/>
          </a:prstGeom>
        </p:spPr>
      </p:pic>
      <p:pic>
        <p:nvPicPr>
          <p:cNvPr id="8" name="Picture 7">
            <a:extLst>
              <a:ext uri="{FF2B5EF4-FFF2-40B4-BE49-F238E27FC236}">
                <a16:creationId xmlns:a16="http://schemas.microsoft.com/office/drawing/2014/main" id="{46AB94F5-7B44-8F45-D72D-B68DFFE32939}"/>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7065039" y="4409836"/>
            <a:ext cx="2016976" cy="1325910"/>
          </a:xfrm>
          <a:prstGeom prst="rect">
            <a:avLst/>
          </a:prstGeom>
        </p:spPr>
      </p:pic>
      <p:sp>
        <p:nvSpPr>
          <p:cNvPr id="15" name="TextBox 14">
            <a:extLst>
              <a:ext uri="{FF2B5EF4-FFF2-40B4-BE49-F238E27FC236}">
                <a16:creationId xmlns:a16="http://schemas.microsoft.com/office/drawing/2014/main" id="{E4E9886E-53FD-3D6C-7109-F0EFB003D53A}"/>
              </a:ext>
            </a:extLst>
          </p:cNvPr>
          <p:cNvSpPr txBox="1"/>
          <p:nvPr/>
        </p:nvSpPr>
        <p:spPr>
          <a:xfrm>
            <a:off x="9079970" y="5735746"/>
            <a:ext cx="2698346" cy="43088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a:latin typeface="Arial"/>
                <a:cs typeface="Arial"/>
              </a:rPr>
              <a:t>Photographs courtesy of Barbara Monks @ </a:t>
            </a:r>
            <a:r>
              <a:rPr lang="en-US" sz="1100" b="1">
                <a:latin typeface="Arial"/>
                <a:ea typeface="+mn-lt"/>
                <a:cs typeface="+mn-lt"/>
                <a:hlinkClick r:id="rId9"/>
              </a:rPr>
              <a:t>https://thecookeryteacher.com/</a:t>
            </a:r>
            <a:r>
              <a:rPr lang="en-US" sz="1100">
                <a:latin typeface="Arial"/>
                <a:ea typeface="+mn-lt"/>
                <a:cs typeface="+mn-lt"/>
              </a:rPr>
              <a:t> </a:t>
            </a:r>
            <a:endParaRPr lang="en-US" sz="1100">
              <a:latin typeface="Arial"/>
              <a:cs typeface="Arial"/>
            </a:endParaRPr>
          </a:p>
        </p:txBody>
      </p:sp>
      <p:pic>
        <p:nvPicPr>
          <p:cNvPr id="7" name="Picture 6">
            <a:extLst>
              <a:ext uri="{FF2B5EF4-FFF2-40B4-BE49-F238E27FC236}">
                <a16:creationId xmlns:a16="http://schemas.microsoft.com/office/drawing/2014/main" id="{4B5D8A8C-7DDC-70ED-EBCB-E1CA096FA05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925925" y="2532746"/>
            <a:ext cx="2169189" cy="1325910"/>
          </a:xfrm>
          <a:prstGeom prst="rect">
            <a:avLst/>
          </a:prstGeom>
          <a:ln w="28575">
            <a:solidFill>
              <a:srgbClr val="EF9F3F"/>
            </a:solidFill>
          </a:ln>
        </p:spPr>
      </p:pic>
      <p:pic>
        <p:nvPicPr>
          <p:cNvPr id="10" name="Picture 9">
            <a:extLst>
              <a:ext uri="{FF2B5EF4-FFF2-40B4-BE49-F238E27FC236}">
                <a16:creationId xmlns:a16="http://schemas.microsoft.com/office/drawing/2014/main" id="{12F94C70-5A8C-6420-C04D-BF9CC3FE57BC}"/>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tretch>
            <a:fillRect/>
          </a:stretch>
        </p:blipFill>
        <p:spPr>
          <a:xfrm>
            <a:off x="9700032" y="2524614"/>
            <a:ext cx="1988864" cy="1325910"/>
          </a:xfrm>
          <a:prstGeom prst="rect">
            <a:avLst/>
          </a:prstGeom>
          <a:ln w="28575">
            <a:solidFill>
              <a:srgbClr val="EF9F3F"/>
            </a:solidFill>
          </a:ln>
        </p:spPr>
      </p:pic>
      <p:pic>
        <p:nvPicPr>
          <p:cNvPr id="13" name="Picture 12">
            <a:extLst>
              <a:ext uri="{FF2B5EF4-FFF2-40B4-BE49-F238E27FC236}">
                <a16:creationId xmlns:a16="http://schemas.microsoft.com/office/drawing/2014/main" id="{22B84F5C-70D3-39B2-E214-48F03BD07D29}"/>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9700033" y="4390888"/>
            <a:ext cx="1988865" cy="1325910"/>
          </a:xfrm>
          <a:prstGeom prst="rect">
            <a:avLst/>
          </a:prstGeom>
          <a:ln w="28575">
            <a:solidFill>
              <a:srgbClr val="EF9F3F"/>
            </a:solidFill>
          </a:ln>
        </p:spPr>
      </p:pic>
      <p:pic>
        <p:nvPicPr>
          <p:cNvPr id="14" name="Picture 13">
            <a:extLst>
              <a:ext uri="{FF2B5EF4-FFF2-40B4-BE49-F238E27FC236}">
                <a16:creationId xmlns:a16="http://schemas.microsoft.com/office/drawing/2014/main" id="{706BFA6A-09D2-3DAF-CD2D-B5769E4150AC}"/>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7062994" y="4390888"/>
            <a:ext cx="2016976" cy="1325910"/>
          </a:xfrm>
          <a:prstGeom prst="rect">
            <a:avLst/>
          </a:prstGeom>
          <a:ln w="28575">
            <a:solidFill>
              <a:srgbClr val="EF9F3F"/>
            </a:solidFill>
          </a:ln>
        </p:spPr>
      </p:pic>
      <p:cxnSp>
        <p:nvCxnSpPr>
          <p:cNvPr id="9" name="Straight Arrow Connector 8">
            <a:extLst>
              <a:ext uri="{FF2B5EF4-FFF2-40B4-BE49-F238E27FC236}">
                <a16:creationId xmlns:a16="http://schemas.microsoft.com/office/drawing/2014/main" id="{615B348F-0385-F916-1EC4-BA0F5E2E3E2E}"/>
              </a:ext>
            </a:extLst>
          </p:cNvPr>
          <p:cNvCxnSpPr>
            <a:cxnSpLocks/>
          </p:cNvCxnSpPr>
          <p:nvPr/>
        </p:nvCxnSpPr>
        <p:spPr>
          <a:xfrm>
            <a:off x="8890503" y="3214649"/>
            <a:ext cx="811574" cy="0"/>
          </a:xfrm>
          <a:prstGeom prst="straightConnector1">
            <a:avLst/>
          </a:prstGeom>
          <a:ln w="76200">
            <a:solidFill>
              <a:schemeClr val="accent2"/>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D0D00FA-C885-E578-47DB-81929AA8CDE1}"/>
              </a:ext>
            </a:extLst>
          </p:cNvPr>
          <p:cNvCxnSpPr>
            <a:cxnSpLocks/>
          </p:cNvCxnSpPr>
          <p:nvPr/>
        </p:nvCxnSpPr>
        <p:spPr>
          <a:xfrm flipH="1">
            <a:off x="9082015" y="5053843"/>
            <a:ext cx="870793" cy="0"/>
          </a:xfrm>
          <a:prstGeom prst="straightConnector1">
            <a:avLst/>
          </a:prstGeom>
          <a:ln w="76200">
            <a:solidFill>
              <a:schemeClr val="accent2"/>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E0B58BA-3FFE-67CA-C0C6-070C8D3DE8A6}"/>
              </a:ext>
            </a:extLst>
          </p:cNvPr>
          <p:cNvCxnSpPr>
            <a:cxnSpLocks/>
          </p:cNvCxnSpPr>
          <p:nvPr/>
        </p:nvCxnSpPr>
        <p:spPr>
          <a:xfrm>
            <a:off x="10662107" y="3776180"/>
            <a:ext cx="0" cy="633656"/>
          </a:xfrm>
          <a:prstGeom prst="straightConnector1">
            <a:avLst/>
          </a:prstGeom>
          <a:ln w="76200">
            <a:solidFill>
              <a:schemeClr val="accent2"/>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0185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8F7D6-0DE9-55CD-510F-91955FB21153}"/>
              </a:ext>
            </a:extLst>
          </p:cNvPr>
          <p:cNvSpPr>
            <a:spLocks noGrp="1"/>
          </p:cNvSpPr>
          <p:nvPr>
            <p:ph type="ctrTitle"/>
          </p:nvPr>
        </p:nvSpPr>
        <p:spPr/>
        <p:txBody>
          <a:bodyPr/>
          <a:lstStyle/>
          <a:p>
            <a:r>
              <a:rPr lang="en-US">
                <a:latin typeface="Arial"/>
                <a:cs typeface="Arial"/>
              </a:rPr>
              <a:t>Emulsions - Vinaigrette</a:t>
            </a:r>
            <a:endParaRPr lang="en-US"/>
          </a:p>
        </p:txBody>
      </p:sp>
      <p:sp>
        <p:nvSpPr>
          <p:cNvPr id="3" name="Subtitle 2">
            <a:extLst>
              <a:ext uri="{FF2B5EF4-FFF2-40B4-BE49-F238E27FC236}">
                <a16:creationId xmlns:a16="http://schemas.microsoft.com/office/drawing/2014/main" id="{3F4AB2AE-64C7-4EAD-7377-33BA885C3FC6}"/>
              </a:ext>
            </a:extLst>
          </p:cNvPr>
          <p:cNvSpPr>
            <a:spLocks noGrp="1"/>
          </p:cNvSpPr>
          <p:nvPr>
            <p:ph type="subTitle" idx="1"/>
          </p:nvPr>
        </p:nvSpPr>
        <p:spPr>
          <a:xfrm>
            <a:off x="1169273" y="2283798"/>
            <a:ext cx="6806829" cy="3600000"/>
          </a:xfrm>
        </p:spPr>
        <p:txBody>
          <a:bodyPr/>
          <a:lstStyle/>
          <a:p>
            <a:r>
              <a:rPr lang="en-US">
                <a:latin typeface="Arial"/>
                <a:cs typeface="Arial"/>
              </a:rPr>
              <a:t>Vinaigrette recipes can vary and depend on the type of food they are to be used with. </a:t>
            </a:r>
          </a:p>
          <a:p>
            <a:r>
              <a:rPr lang="en-US">
                <a:latin typeface="Arial"/>
                <a:cs typeface="Arial"/>
              </a:rPr>
              <a:t>A basic vinaigrette recipe (serves 6) could contain:</a:t>
            </a:r>
          </a:p>
          <a:p>
            <a:pPr marL="628650" indent="-342900">
              <a:spcBef>
                <a:spcPts val="0"/>
              </a:spcBef>
              <a:buFont typeface="Arial" panose="020B0604020202020204" pitchFamily="34" charset="0"/>
              <a:buChar char="•"/>
            </a:pPr>
            <a:r>
              <a:rPr lang="en-US">
                <a:latin typeface="Arial"/>
                <a:cs typeface="Arial"/>
              </a:rPr>
              <a:t>olive oil </a:t>
            </a:r>
            <a:r>
              <a:rPr lang="en-US" sz="1400">
                <a:latin typeface="Arial"/>
                <a:cs typeface="Arial"/>
              </a:rPr>
              <a:t>(120ml)</a:t>
            </a:r>
          </a:p>
          <a:p>
            <a:pPr marL="628650" indent="-342900">
              <a:spcBef>
                <a:spcPts val="0"/>
              </a:spcBef>
              <a:buFont typeface="Arial" panose="020B0604020202020204" pitchFamily="34" charset="0"/>
              <a:buChar char="•"/>
            </a:pPr>
            <a:r>
              <a:rPr lang="en-US">
                <a:latin typeface="Arial"/>
                <a:cs typeface="Arial"/>
              </a:rPr>
              <a:t>vinegar </a:t>
            </a:r>
            <a:r>
              <a:rPr lang="en-US" sz="1400">
                <a:latin typeface="Arial"/>
                <a:cs typeface="Arial"/>
              </a:rPr>
              <a:t>(3x15ml spoons)</a:t>
            </a:r>
          </a:p>
          <a:p>
            <a:pPr marL="628650" indent="-342900">
              <a:spcBef>
                <a:spcPts val="0"/>
              </a:spcBef>
              <a:buFont typeface="Arial" panose="020B0604020202020204" pitchFamily="34" charset="0"/>
              <a:buChar char="•"/>
            </a:pPr>
            <a:r>
              <a:rPr lang="en-US">
                <a:latin typeface="Arial"/>
                <a:cs typeface="Arial"/>
              </a:rPr>
              <a:t>Dijon mustard </a:t>
            </a:r>
            <a:r>
              <a:rPr lang="en-US" sz="1400">
                <a:latin typeface="Arial"/>
                <a:cs typeface="Arial"/>
              </a:rPr>
              <a:t>(1x15ml spoon)</a:t>
            </a:r>
          </a:p>
          <a:p>
            <a:pPr marL="628650" indent="-342900">
              <a:spcBef>
                <a:spcPts val="0"/>
              </a:spcBef>
              <a:buFont typeface="Arial" panose="020B0604020202020204" pitchFamily="34" charset="0"/>
              <a:buChar char="•"/>
            </a:pPr>
            <a:r>
              <a:rPr lang="en-US">
                <a:latin typeface="Arial"/>
                <a:cs typeface="Arial"/>
              </a:rPr>
              <a:t>honey </a:t>
            </a:r>
            <a:r>
              <a:rPr lang="en-US" sz="1400">
                <a:latin typeface="Arial"/>
                <a:cs typeface="Arial"/>
              </a:rPr>
              <a:t>(1x15ml spoon)</a:t>
            </a:r>
          </a:p>
          <a:p>
            <a:pPr marL="628650" indent="-342900">
              <a:spcBef>
                <a:spcPts val="0"/>
              </a:spcBef>
              <a:buFont typeface="Arial" panose="020B0604020202020204" pitchFamily="34" charset="0"/>
              <a:buChar char="•"/>
            </a:pPr>
            <a:r>
              <a:rPr lang="en-US">
                <a:latin typeface="Arial"/>
                <a:cs typeface="Arial"/>
              </a:rPr>
              <a:t>garlic </a:t>
            </a:r>
            <a:r>
              <a:rPr lang="en-US" sz="1400">
                <a:latin typeface="Arial"/>
                <a:cs typeface="Arial"/>
              </a:rPr>
              <a:t>(2 cloves)</a:t>
            </a:r>
          </a:p>
          <a:p>
            <a:pPr marL="628650" indent="-342900">
              <a:spcBef>
                <a:spcPts val="0"/>
              </a:spcBef>
              <a:buFont typeface="Arial" panose="020B0604020202020204" pitchFamily="34" charset="0"/>
              <a:buChar char="•"/>
            </a:pPr>
            <a:r>
              <a:rPr lang="en-US">
                <a:latin typeface="Arial"/>
                <a:cs typeface="Arial"/>
              </a:rPr>
              <a:t>salt </a:t>
            </a:r>
            <a:r>
              <a:rPr lang="en-US" sz="1400">
                <a:latin typeface="Arial"/>
                <a:cs typeface="Arial"/>
              </a:rPr>
              <a:t>(1/4x5ml spoon) </a:t>
            </a:r>
            <a:r>
              <a:rPr lang="en-US">
                <a:latin typeface="Arial"/>
                <a:cs typeface="Arial"/>
              </a:rPr>
              <a:t>and pepper</a:t>
            </a:r>
            <a:endParaRPr lang="en-US"/>
          </a:p>
          <a:p>
            <a:r>
              <a:rPr lang="en-US"/>
              <a:t>Simply mix all the ingredients together and combine with a whisk or fork. Adjust ingredients to taste.</a:t>
            </a:r>
          </a:p>
          <a:p>
            <a:r>
              <a:rPr lang="en-US"/>
              <a:t>The mustard will keep the vinaigrette together for a time, but it may need to be recombined if left to stand.</a:t>
            </a:r>
          </a:p>
          <a:p>
            <a:endParaRPr lang="en-US"/>
          </a:p>
          <a:p>
            <a:endParaRPr lang="en-US"/>
          </a:p>
          <a:p>
            <a:endParaRPr lang="en-US"/>
          </a:p>
        </p:txBody>
      </p:sp>
      <p:pic>
        <p:nvPicPr>
          <p:cNvPr id="4" name="Picture 3" descr="A glass of liquid&#10;&#10;Description automatically generated with low confidence">
            <a:extLst>
              <a:ext uri="{FF2B5EF4-FFF2-40B4-BE49-F238E27FC236}">
                <a16:creationId xmlns:a16="http://schemas.microsoft.com/office/drawing/2014/main" id="{1D653AAA-58EC-D3E4-041E-7CD3B68C4F59}"/>
              </a:ext>
            </a:extLst>
          </p:cNvPr>
          <p:cNvPicPr>
            <a:picLocks noChangeAspect="1"/>
          </p:cNvPicPr>
          <p:nvPr/>
        </p:nvPicPr>
        <p:blipFill rotWithShape="1">
          <a:blip r:embed="rId2"/>
          <a:srcRect l="4975" t="33301" r="2470" b="7079"/>
          <a:stretch/>
        </p:blipFill>
        <p:spPr>
          <a:xfrm>
            <a:off x="8390051" y="2850436"/>
            <a:ext cx="2845299" cy="2443766"/>
          </a:xfrm>
          <a:prstGeom prst="rect">
            <a:avLst/>
          </a:prstGeom>
        </p:spPr>
      </p:pic>
    </p:spTree>
    <p:extLst>
      <p:ext uri="{BB962C8B-B14F-4D97-AF65-F5344CB8AC3E}">
        <p14:creationId xmlns:p14="http://schemas.microsoft.com/office/powerpoint/2010/main" val="14971608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57A6-0FFC-F702-9FBB-59B31771F969}"/>
              </a:ext>
            </a:extLst>
          </p:cNvPr>
          <p:cNvSpPr>
            <a:spLocks noGrp="1"/>
          </p:cNvSpPr>
          <p:nvPr>
            <p:ph type="ctrTitle"/>
          </p:nvPr>
        </p:nvSpPr>
        <p:spPr/>
        <p:txBody>
          <a:bodyPr/>
          <a:lstStyle/>
          <a:p>
            <a:r>
              <a:rPr lang="en-GB">
                <a:latin typeface="Arial"/>
                <a:cs typeface="Arial"/>
              </a:rPr>
              <a:t>Further supporting resources</a:t>
            </a:r>
            <a:endParaRPr lang="en-US" b="0">
              <a:latin typeface="Arial"/>
              <a:cs typeface="Arial"/>
            </a:endParaRPr>
          </a:p>
          <a:p>
            <a:endParaRPr lang="en-US"/>
          </a:p>
        </p:txBody>
      </p:sp>
      <p:sp>
        <p:nvSpPr>
          <p:cNvPr id="3" name="Subtitle 2">
            <a:extLst>
              <a:ext uri="{FF2B5EF4-FFF2-40B4-BE49-F238E27FC236}">
                <a16:creationId xmlns:a16="http://schemas.microsoft.com/office/drawing/2014/main" id="{5204CA75-A31A-AD47-DC3C-C19E15F38F87}"/>
              </a:ext>
            </a:extLst>
          </p:cNvPr>
          <p:cNvSpPr>
            <a:spLocks noGrp="1"/>
          </p:cNvSpPr>
          <p:nvPr>
            <p:ph type="subTitle" idx="1"/>
          </p:nvPr>
        </p:nvSpPr>
        <p:spPr>
          <a:xfrm>
            <a:off x="1169274" y="2130517"/>
            <a:ext cx="9720000" cy="3600000"/>
          </a:xfrm>
        </p:spPr>
        <p:txBody>
          <a:bodyPr/>
          <a:lstStyle/>
          <a:p>
            <a:pPr marL="0" indent="0">
              <a:buNone/>
            </a:pPr>
            <a:r>
              <a:rPr lang="en-GB" b="1" i="1">
                <a:latin typeface="Arial"/>
                <a:cs typeface="Arial"/>
              </a:rPr>
              <a:t>Food – a fact of life</a:t>
            </a:r>
            <a:r>
              <a:rPr lang="en-GB" b="1">
                <a:latin typeface="Arial"/>
                <a:cs typeface="Arial"/>
              </a:rPr>
              <a:t> resources</a:t>
            </a:r>
          </a:p>
          <a:p>
            <a:r>
              <a:rPr lang="en-GB">
                <a:latin typeface="Arial"/>
                <a:cs typeface="Arial"/>
              </a:rPr>
              <a:t>Complete the </a:t>
            </a:r>
            <a:r>
              <a:rPr lang="en-GB">
                <a:latin typeface="Arial"/>
                <a:cs typeface="Arial"/>
                <a:hlinkClick r:id="rId2"/>
              </a:rPr>
              <a:t>Emulsions worksheet</a:t>
            </a:r>
            <a:r>
              <a:rPr lang="en-GB">
                <a:latin typeface="Arial"/>
                <a:cs typeface="Arial"/>
              </a:rPr>
              <a:t> to show which ingredients act as effective emulsifiers.</a:t>
            </a: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US" sz="2000" b="0" i="0" u="none" strike="noStrike" kern="1200" cap="none" spc="0" normalizeH="0" baseline="0" noProof="0">
                <a:ln>
                  <a:noFill/>
                </a:ln>
                <a:solidFill>
                  <a:prstClr val="black"/>
                </a:solidFill>
                <a:effectLst/>
                <a:uLnTx/>
                <a:uFillTx/>
                <a:latin typeface="Arial"/>
                <a:cs typeface="Arial"/>
              </a:rPr>
              <a:t>Resources around food science can be found here: </a:t>
            </a:r>
            <a:r>
              <a:rPr kumimoji="0" lang="en-US" sz="2000" b="0" i="0" u="none" strike="noStrike" kern="1200" cap="none" spc="0" normalizeH="0" baseline="0" noProof="0">
                <a:ln>
                  <a:noFill/>
                </a:ln>
                <a:solidFill>
                  <a:prstClr val="black"/>
                </a:solidFill>
                <a:effectLst/>
                <a:uLnTx/>
                <a:uFillTx/>
                <a:latin typeface="Arial"/>
                <a:cs typeface="Arial"/>
                <a:hlinkClick r:id="rId3"/>
              </a:rPr>
              <a:t>11-14 years</a:t>
            </a:r>
            <a:r>
              <a:rPr kumimoji="0" lang="en-US" sz="2000" b="0" i="0" u="none" strike="noStrike" kern="1200" cap="none" spc="0" normalizeH="0" baseline="0" noProof="0">
                <a:ln>
                  <a:noFill/>
                </a:ln>
                <a:solidFill>
                  <a:prstClr val="black"/>
                </a:solidFill>
                <a:effectLst/>
                <a:uLnTx/>
                <a:uFillTx/>
                <a:latin typeface="Arial"/>
                <a:cs typeface="Arial"/>
              </a:rPr>
              <a:t>, </a:t>
            </a:r>
            <a:r>
              <a:rPr kumimoji="0" lang="en-US" sz="2000" b="0" i="0" u="none" strike="noStrike" kern="1200" cap="none" spc="0" normalizeH="0" baseline="0" noProof="0">
                <a:ln>
                  <a:noFill/>
                </a:ln>
                <a:solidFill>
                  <a:prstClr val="black"/>
                </a:solidFill>
                <a:effectLst/>
                <a:uLnTx/>
                <a:uFillTx/>
                <a:latin typeface="Arial"/>
                <a:cs typeface="Arial"/>
                <a:hlinkClick r:id="rId4"/>
              </a:rPr>
              <a:t>14-16 years</a:t>
            </a:r>
            <a:endParaRPr kumimoji="0" lang="en-US" sz="2000" b="0" i="0" u="none" strike="noStrike" kern="1200" cap="none" spc="0" normalizeH="0" baseline="0" noProof="0">
              <a:ln>
                <a:noFill/>
              </a:ln>
              <a:solidFill>
                <a:prstClr val="black"/>
              </a:solidFill>
              <a:effectLst/>
              <a:uLnTx/>
              <a:uFillTx/>
              <a:latin typeface="Arial" charset="0"/>
              <a:cs typeface="Arial" charset="0"/>
            </a:endParaRP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GB" sz="2000" b="0" i="0" u="none" strike="noStrike" kern="1200" cap="none" spc="0" normalizeH="0" baseline="0" noProof="0">
                <a:ln>
                  <a:noFill/>
                </a:ln>
                <a:solidFill>
                  <a:prstClr val="black"/>
                </a:solidFill>
                <a:effectLst/>
                <a:uLnTx/>
                <a:uFillTx/>
                <a:latin typeface="Arial"/>
                <a:cs typeface="Arial"/>
              </a:rPr>
              <a:t>Further information, support and resources around functional characteristics of ingredients can be found here </a:t>
            </a:r>
            <a:r>
              <a:rPr kumimoji="0" lang="en-GB" sz="2000" b="0" i="0" u="none" strike="noStrike" kern="1200" cap="none" spc="0" normalizeH="0" baseline="0" noProof="0">
                <a:ln>
                  <a:noFill/>
                </a:ln>
                <a:solidFill>
                  <a:prstClr val="black"/>
                </a:solidFill>
                <a:effectLst/>
                <a:uLnTx/>
                <a:uFillTx/>
                <a:latin typeface="Arial"/>
                <a:cs typeface="Arial"/>
                <a:hlinkClick r:id="rId5"/>
              </a:rPr>
              <a:t>11-14</a:t>
            </a:r>
            <a:r>
              <a:rPr kumimoji="0" lang="en-GB" sz="2000" b="0" i="0" u="none" strike="noStrike" kern="1200" cap="none" spc="0" normalizeH="0" baseline="0" noProof="0">
                <a:ln>
                  <a:noFill/>
                </a:ln>
                <a:solidFill>
                  <a:prstClr val="black"/>
                </a:solidFill>
                <a:effectLst/>
                <a:uLnTx/>
                <a:uFillTx/>
                <a:latin typeface="Arial"/>
                <a:cs typeface="Arial"/>
              </a:rPr>
              <a:t> and </a:t>
            </a:r>
            <a:r>
              <a:rPr kumimoji="0" lang="en-GB" sz="2000" b="0" i="0" u="none" strike="noStrike" kern="1200" cap="none" spc="0" normalizeH="0" baseline="0" noProof="0">
                <a:ln>
                  <a:noFill/>
                </a:ln>
                <a:solidFill>
                  <a:prstClr val="black"/>
                </a:solidFill>
                <a:effectLst/>
                <a:uLnTx/>
                <a:uFillTx/>
                <a:latin typeface="Arial"/>
                <a:cs typeface="Arial"/>
                <a:hlinkClick r:id="rId6"/>
              </a:rPr>
              <a:t>14-16</a:t>
            </a:r>
            <a:r>
              <a:rPr kumimoji="0" lang="en-GB" sz="2000" b="0" i="0" u="none" strike="noStrike" kern="1200" cap="none" spc="0" normalizeH="0" baseline="0" noProof="0">
                <a:ln>
                  <a:noFill/>
                </a:ln>
                <a:solidFill>
                  <a:prstClr val="black"/>
                </a:solidFill>
                <a:effectLst/>
                <a:uLnTx/>
                <a:uFillTx/>
                <a:latin typeface="Arial"/>
                <a:cs typeface="Arial"/>
              </a:rPr>
              <a:t>.</a:t>
            </a:r>
            <a:endParaRPr kumimoji="0" lang="en-US" sz="2000" b="0" i="0" u="none" strike="noStrike" kern="1200" cap="none" spc="0" normalizeH="0" baseline="0" noProof="0">
              <a:ln>
                <a:noFill/>
              </a:ln>
              <a:solidFill>
                <a:prstClr val="black"/>
              </a:solidFill>
              <a:effectLst/>
              <a:uLnTx/>
              <a:uFillTx/>
              <a:latin typeface="Arial" charset="0"/>
              <a:cs typeface="Arial"/>
            </a:endParaRP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GB" sz="2000" b="0" i="0" u="none" strike="noStrike" kern="1200" cap="none" spc="0" normalizeH="0" baseline="0" noProof="0">
                <a:ln>
                  <a:noFill/>
                </a:ln>
                <a:solidFill>
                  <a:prstClr val="black"/>
                </a:solidFill>
                <a:effectLst/>
                <a:uLnTx/>
                <a:uFillTx/>
                <a:latin typeface="Arial"/>
                <a:cs typeface="Arial"/>
              </a:rPr>
              <a:t>Ingredients - functional characteristics </a:t>
            </a:r>
            <a:r>
              <a:rPr kumimoji="0" lang="en-GB" sz="2000" b="0" i="0" u="none" strike="noStrike" kern="1200" cap="none" spc="0" normalizeH="0" baseline="0" noProof="0">
                <a:ln>
                  <a:noFill/>
                </a:ln>
                <a:solidFill>
                  <a:prstClr val="black"/>
                </a:solidFill>
                <a:effectLst/>
                <a:uLnTx/>
                <a:uFillTx/>
                <a:latin typeface="Arial"/>
                <a:cs typeface="Arial"/>
                <a:hlinkClick r:id="rId7"/>
              </a:rPr>
              <a:t>Knowledge Organiser 11-14</a:t>
            </a:r>
            <a:endParaRPr lang="en-GB" b="1">
              <a:latin typeface="Arial"/>
              <a:cs typeface="Arial"/>
            </a:endParaRPr>
          </a:p>
          <a:p>
            <a:pPr marL="0" indent="0">
              <a:buNone/>
            </a:pPr>
            <a:r>
              <a:rPr lang="en-GB" b="1">
                <a:latin typeface="Arial"/>
                <a:cs typeface="Arial"/>
              </a:rPr>
              <a:t>External resources</a:t>
            </a:r>
          </a:p>
          <a:p>
            <a:r>
              <a:rPr lang="en-GB">
                <a:latin typeface="Arial"/>
                <a:cs typeface="Arial"/>
              </a:rPr>
              <a:t>RSC – </a:t>
            </a:r>
            <a:r>
              <a:rPr lang="en-GB">
                <a:latin typeface="Arial"/>
                <a:cs typeface="Arial"/>
                <a:hlinkClick r:id="rId8"/>
              </a:rPr>
              <a:t>Emulsifiers in the kitchen</a:t>
            </a:r>
            <a:endParaRPr lang="en-GB">
              <a:latin typeface="Arial"/>
              <a:cs typeface="Arial"/>
            </a:endParaRPr>
          </a:p>
          <a:p>
            <a:r>
              <a:rPr lang="en-GB"/>
              <a:t>Chilled Education – </a:t>
            </a:r>
            <a:r>
              <a:rPr lang="en-GB">
                <a:hlinkClick r:id="rId9"/>
              </a:rPr>
              <a:t>Store cupboard science, mixing it up</a:t>
            </a:r>
            <a:endParaRPr lang="en-GB"/>
          </a:p>
          <a:p>
            <a:r>
              <a:rPr lang="en-GB"/>
              <a:t>Chilled Education – </a:t>
            </a:r>
            <a:r>
              <a:rPr lang="en-GB">
                <a:hlinkClick r:id="rId10"/>
              </a:rPr>
              <a:t>Store cupboard science, lava lamp</a:t>
            </a:r>
            <a:endParaRPr lang="en-GB"/>
          </a:p>
          <a:p>
            <a:pPr marL="0" indent="0">
              <a:buNone/>
            </a:pPr>
            <a:endParaRPr lang="en-GB"/>
          </a:p>
          <a:p>
            <a:pPr marL="0" indent="0">
              <a:buNone/>
            </a:pPr>
            <a:endParaRPr lang="en-GB"/>
          </a:p>
          <a:p>
            <a:pPr marL="0" indent="0">
              <a:buNone/>
            </a:pPr>
            <a:endParaRPr lang="en-GB"/>
          </a:p>
          <a:p>
            <a:pPr marL="0" indent="0">
              <a:buNone/>
            </a:pPr>
            <a:endParaRPr lang="en-GB"/>
          </a:p>
          <a:p>
            <a:pPr marL="0" indent="0">
              <a:buNone/>
            </a:pPr>
            <a:endParaRPr lang="en-GB"/>
          </a:p>
          <a:p>
            <a:pPr marL="0" indent="0">
              <a:buNone/>
            </a:pPr>
            <a:endParaRPr lang="en-GB" b="1"/>
          </a:p>
          <a:p>
            <a:pPr marL="0" indent="0">
              <a:buNone/>
            </a:pPr>
            <a:endParaRPr lang="en-GB" b="1"/>
          </a:p>
        </p:txBody>
      </p:sp>
      <p:sp>
        <p:nvSpPr>
          <p:cNvPr id="4" name="TextBox 3">
            <a:extLst>
              <a:ext uri="{FF2B5EF4-FFF2-40B4-BE49-F238E27FC236}">
                <a16:creationId xmlns:a16="http://schemas.microsoft.com/office/drawing/2014/main" id="{3A4A2622-89E0-D556-37A6-B3434A77FD63}"/>
              </a:ext>
            </a:extLst>
          </p:cNvPr>
          <p:cNvSpPr txBox="1"/>
          <p:nvPr/>
        </p:nvSpPr>
        <p:spPr>
          <a:xfrm>
            <a:off x="1017409" y="6335275"/>
            <a:ext cx="6870703" cy="400110"/>
          </a:xfrm>
          <a:prstGeom prst="rect">
            <a:avLst/>
          </a:prstGeom>
          <a:noFill/>
        </p:spPr>
        <p:txBody>
          <a:bodyPr wrap="square" rtlCol="0">
            <a:spAutoFit/>
          </a:bodyPr>
          <a:lstStyle/>
          <a:p>
            <a:r>
              <a:rPr lang="en-GB" sz="1000">
                <a:solidFill>
                  <a:srgbClr val="263143"/>
                </a:solidFill>
                <a:latin typeface="Roboto" panose="02000000000000000000" pitchFamily="2" charset="0"/>
              </a:rPr>
              <a:t>Teachers </a:t>
            </a:r>
            <a:r>
              <a:rPr lang="en-GB" sz="1000" b="0" i="0">
                <a:solidFill>
                  <a:srgbClr val="263143"/>
                </a:solidFill>
                <a:effectLst/>
                <a:latin typeface="Roboto" panose="02000000000000000000" pitchFamily="2" charset="0"/>
              </a:rPr>
              <a:t>will need to decide on the level of complexity of the tasks chosen, depending on age, stage and need, and considering progression.</a:t>
            </a:r>
            <a:endParaRPr lang="en-GB"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96791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2"/>
            </p:custDataLst>
            <p:extLst>
              <p:ext uri="{D42A27DB-BD31-4B8C-83A1-F6EECF244321}">
                <p14:modId xmlns:p14="http://schemas.microsoft.com/office/powerpoint/2010/main" val="4279945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Emulsions</a:t>
            </a:r>
            <a:endParaRPr lang="en-GB"/>
          </a:p>
        </p:txBody>
      </p:sp>
      <p:sp>
        <p:nvSpPr>
          <p:cNvPr id="3" name="Subtitle 2"/>
          <p:cNvSpPr>
            <a:spLocks noGrp="1"/>
          </p:cNvSpPr>
          <p:nvPr>
            <p:ph type="subTitle" idx="1"/>
          </p:nvPr>
        </p:nvSpPr>
        <p:spPr>
          <a:xfrm>
            <a:off x="783771" y="3065488"/>
            <a:ext cx="11190515" cy="3087973"/>
          </a:xfrm>
        </p:spPr>
        <p:txBody>
          <a:bodyPr/>
          <a:lstStyle/>
          <a:p>
            <a:pPr marL="0" indent="0" algn="ctr">
              <a:buNone/>
            </a:pPr>
            <a:r>
              <a:rPr lang="en-GB" sz="3600"/>
              <a:t>For further information, go to:</a:t>
            </a:r>
          </a:p>
          <a:p>
            <a:pPr marL="0" indent="0" algn="ctr">
              <a:buNone/>
            </a:pPr>
            <a:r>
              <a:rPr lang="en-GB" sz="3600">
                <a:hlinkClick r:id="rId6"/>
              </a:rPr>
              <a:t>www.foodafactoflife.org.uk</a:t>
            </a:r>
            <a:endParaRPr lang="en-GB" sz="3600"/>
          </a:p>
          <a:p>
            <a:pPr marL="0" indent="0" algn="ctr">
              <a:buNone/>
            </a:pPr>
            <a:endParaRPr lang="en-GB" sz="3600"/>
          </a:p>
          <a:p>
            <a:pPr marL="0" indent="0" algn="ctr">
              <a:buNone/>
            </a:pPr>
            <a:r>
              <a:rPr lang="en-GB" sz="1400" kern="1200">
                <a:solidFill>
                  <a:srgbClr val="000000"/>
                </a:solidFill>
                <a:effectLst/>
                <a:latin typeface="Arial" panose="020B0604020202020204" pitchFamily="34" charset="0"/>
                <a:ea typeface="Arial" panose="020B0604020202020204" pitchFamily="34" charset="0"/>
              </a:rPr>
              <a:t>This food science pack is one of a series of resources produced for the </a:t>
            </a:r>
            <a:r>
              <a:rPr lang="en-GB" sz="1400" i="1" kern="1200" err="1">
                <a:solidFill>
                  <a:srgbClr val="000000"/>
                </a:solidFill>
                <a:effectLst/>
                <a:latin typeface="Arial" panose="020B0604020202020204" pitchFamily="34" charset="0"/>
                <a:ea typeface="Arial" panose="020B0604020202020204" pitchFamily="34" charset="0"/>
              </a:rPr>
              <a:t>pHood</a:t>
            </a:r>
            <a:r>
              <a:rPr lang="en-GB" sz="1400" i="1" kern="1200">
                <a:solidFill>
                  <a:srgbClr val="000000"/>
                </a:solidFill>
                <a:effectLst/>
                <a:latin typeface="Arial" panose="020B0604020202020204" pitchFamily="34" charset="0"/>
                <a:ea typeface="Arial" panose="020B0604020202020204" pitchFamily="34" charset="0"/>
              </a:rPr>
              <a:t> Futures </a:t>
            </a:r>
            <a:r>
              <a:rPr lang="en-GB" sz="1400" kern="1200">
                <a:solidFill>
                  <a:srgbClr val="000000"/>
                </a:solidFill>
                <a:effectLst/>
                <a:latin typeface="Arial" panose="020B0604020202020204" pitchFamily="34" charset="0"/>
                <a:ea typeface="Arial" panose="020B0604020202020204" pitchFamily="34" charset="0"/>
              </a:rPr>
              <a:t>project, supported by the Royal Society of Chemistry.</a:t>
            </a:r>
            <a:endParaRPr lang="en-GB" sz="1400">
              <a:effectLst/>
              <a:latin typeface="Times New Roman" panose="02020603050405020304" pitchFamily="18" charset="0"/>
              <a:ea typeface="Times New Roman" panose="02020603050405020304" pitchFamily="18" charset="0"/>
            </a:endParaRPr>
          </a:p>
          <a:p>
            <a:pPr marL="0" indent="0" algn="ctr">
              <a:buNone/>
            </a:pPr>
            <a:endParaRPr lang="en-GB" sz="3600"/>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7"/>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20051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Introduc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6" y="2571092"/>
            <a:ext cx="5756625" cy="3600000"/>
          </a:xfrm>
        </p:spPr>
        <p:txBody>
          <a:bodyPr/>
          <a:lstStyle/>
          <a:p>
            <a:pPr marL="0" indent="0">
              <a:buNone/>
            </a:pPr>
            <a:r>
              <a:rPr lang="en-US"/>
              <a:t>Emulsions are mixtures of two liquids that normally don’t mix together.</a:t>
            </a:r>
          </a:p>
          <a:p>
            <a:pPr marL="0" indent="0">
              <a:buNone/>
            </a:pPr>
            <a:r>
              <a:rPr lang="en-US"/>
              <a:t>A common example is oil and water. If you mix vegetable oil and water together, you will see that the oil floats to the top, separated from the water.</a:t>
            </a:r>
          </a:p>
          <a:p>
            <a:pPr marL="0" indent="0">
              <a:buNone/>
            </a:pPr>
            <a:r>
              <a:rPr lang="en-US"/>
              <a:t>If oil and water need to be mixed together in a food product without rapidly separating, then an emulsifier needs to be added to keep the oil and water mixed.</a:t>
            </a:r>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4" name="Picture 3" descr="A picture containing table, food, custard, group&#10;&#10;Description automatically generated">
            <a:extLst>
              <a:ext uri="{FF2B5EF4-FFF2-40B4-BE49-F238E27FC236}">
                <a16:creationId xmlns:a16="http://schemas.microsoft.com/office/drawing/2014/main" id="{5EA90935-58F4-1EDB-92F4-ED327FC70B2C}"/>
              </a:ext>
            </a:extLst>
          </p:cNvPr>
          <p:cNvPicPr>
            <a:picLocks noChangeAspect="1"/>
          </p:cNvPicPr>
          <p:nvPr/>
        </p:nvPicPr>
        <p:blipFill>
          <a:blip r:embed="rId2"/>
          <a:stretch>
            <a:fillRect/>
          </a:stretch>
        </p:blipFill>
        <p:spPr>
          <a:xfrm>
            <a:off x="7952393" y="2788376"/>
            <a:ext cx="3445920" cy="2296383"/>
          </a:xfrm>
          <a:prstGeom prst="rect">
            <a:avLst/>
          </a:prstGeom>
          <a:ln w="28575">
            <a:solidFill>
              <a:srgbClr val="EF9F3F"/>
            </a:solidFill>
          </a:ln>
        </p:spPr>
      </p:pic>
    </p:spTree>
    <p:extLst>
      <p:ext uri="{BB962C8B-B14F-4D97-AF65-F5344CB8AC3E}">
        <p14:creationId xmlns:p14="http://schemas.microsoft.com/office/powerpoint/2010/main" val="28317727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56FD1-4489-F55F-822B-620888FD55A9}"/>
              </a:ext>
            </a:extLst>
          </p:cNvPr>
          <p:cNvSpPr>
            <a:spLocks noGrp="1"/>
          </p:cNvSpPr>
          <p:nvPr>
            <p:ph type="ctrTitle"/>
          </p:nvPr>
        </p:nvSpPr>
        <p:spPr/>
        <p:txBody>
          <a:bodyPr/>
          <a:lstStyle/>
          <a:p>
            <a:r>
              <a:rPr lang="en-GB"/>
              <a:t>Emulsifiers</a:t>
            </a:r>
          </a:p>
        </p:txBody>
      </p:sp>
      <p:sp>
        <p:nvSpPr>
          <p:cNvPr id="3" name="Subtitle 2">
            <a:extLst>
              <a:ext uri="{FF2B5EF4-FFF2-40B4-BE49-F238E27FC236}">
                <a16:creationId xmlns:a16="http://schemas.microsoft.com/office/drawing/2014/main" id="{BE28E501-5A4E-D1A3-A7D8-65D153A748C4}"/>
              </a:ext>
            </a:extLst>
          </p:cNvPr>
          <p:cNvSpPr>
            <a:spLocks noGrp="1"/>
          </p:cNvSpPr>
          <p:nvPr>
            <p:ph type="subTitle" idx="1"/>
          </p:nvPr>
        </p:nvSpPr>
        <p:spPr>
          <a:xfrm>
            <a:off x="1169276" y="2571092"/>
            <a:ext cx="6545419" cy="3600000"/>
          </a:xfrm>
        </p:spPr>
        <p:txBody>
          <a:bodyPr/>
          <a:lstStyle/>
          <a:p>
            <a:pPr marL="0" indent="0">
              <a:buNone/>
            </a:pPr>
            <a:endParaRPr lang="en-GB"/>
          </a:p>
          <a:p>
            <a:pPr marL="0" indent="0">
              <a:buNone/>
            </a:pPr>
            <a:endParaRPr lang="en-GB"/>
          </a:p>
        </p:txBody>
      </p:sp>
      <p:sp>
        <p:nvSpPr>
          <p:cNvPr id="6" name="Subtitle 2">
            <a:extLst>
              <a:ext uri="{FF2B5EF4-FFF2-40B4-BE49-F238E27FC236}">
                <a16:creationId xmlns:a16="http://schemas.microsoft.com/office/drawing/2014/main" id="{37F21B2D-0E3B-42DC-85A8-4511EB39D461}"/>
              </a:ext>
            </a:extLst>
          </p:cNvPr>
          <p:cNvSpPr txBox="1">
            <a:spLocks/>
          </p:cNvSpPr>
          <p:nvPr/>
        </p:nvSpPr>
        <p:spPr>
          <a:xfrm>
            <a:off x="1169277" y="2571092"/>
            <a:ext cx="6075978" cy="2833827"/>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US"/>
              <a:t>Emulsifiers are substances that can be found naturally in some foods or used as additives in others.</a:t>
            </a:r>
          </a:p>
          <a:p>
            <a:pPr marL="0" indent="0">
              <a:buFont typeface="Arial" charset="0"/>
              <a:buNone/>
            </a:pPr>
            <a:r>
              <a:rPr lang="en-US"/>
              <a:t>Usually, emulsifiers are compounds made of two parts. One part is hydrophobic (meaning it is ‘water hating’ or ‘oil loving’) and the other part is hydrophilic (‘water loving’ or ‘oil hating’).</a:t>
            </a:r>
          </a:p>
          <a:p>
            <a:pPr marL="0" indent="0">
              <a:buFont typeface="Arial" charset="0"/>
              <a:buNone/>
            </a:pPr>
            <a:r>
              <a:rPr lang="en-US"/>
              <a:t>Emulsifiers you can find in the kitchen are mustard (which contains mucilage) and egg yolk (which contains lecithin).</a:t>
            </a:r>
          </a:p>
          <a:p>
            <a:pPr marL="0" indent="0">
              <a:buFont typeface="Arial" charset="0"/>
              <a:buNone/>
            </a:pPr>
            <a:endParaRPr lang="en-US"/>
          </a:p>
        </p:txBody>
      </p:sp>
      <p:pic>
        <p:nvPicPr>
          <p:cNvPr id="5" name="Picture 4" descr="A picture containing cup, indoor, glass, drink&#10;&#10;Description automatically generated">
            <a:extLst>
              <a:ext uri="{FF2B5EF4-FFF2-40B4-BE49-F238E27FC236}">
                <a16:creationId xmlns:a16="http://schemas.microsoft.com/office/drawing/2014/main" id="{AD901ADD-240C-57E8-98F3-7F1CA8AABF11}"/>
              </a:ext>
            </a:extLst>
          </p:cNvPr>
          <p:cNvPicPr>
            <a:picLocks noChangeAspect="1"/>
          </p:cNvPicPr>
          <p:nvPr/>
        </p:nvPicPr>
        <p:blipFill>
          <a:blip r:embed="rId2"/>
          <a:stretch>
            <a:fillRect/>
          </a:stretch>
        </p:blipFill>
        <p:spPr>
          <a:xfrm>
            <a:off x="7245255" y="1862750"/>
            <a:ext cx="3048000" cy="2033016"/>
          </a:xfrm>
          <a:prstGeom prst="rect">
            <a:avLst/>
          </a:prstGeom>
        </p:spPr>
      </p:pic>
      <p:pic>
        <p:nvPicPr>
          <p:cNvPr id="7" name="Picture 6" descr="A picture containing cup, food&#10;&#10;Description automatically generated">
            <a:extLst>
              <a:ext uri="{FF2B5EF4-FFF2-40B4-BE49-F238E27FC236}">
                <a16:creationId xmlns:a16="http://schemas.microsoft.com/office/drawing/2014/main" id="{44EFA478-EBC2-CA8F-E9A8-13187ACDE98D}"/>
              </a:ext>
            </a:extLst>
          </p:cNvPr>
          <p:cNvPicPr>
            <a:picLocks noChangeAspect="1"/>
          </p:cNvPicPr>
          <p:nvPr/>
        </p:nvPicPr>
        <p:blipFill>
          <a:blip r:embed="rId3"/>
          <a:stretch>
            <a:fillRect/>
          </a:stretch>
        </p:blipFill>
        <p:spPr>
          <a:xfrm>
            <a:off x="8944824" y="3978742"/>
            <a:ext cx="3048000" cy="2033016"/>
          </a:xfrm>
          <a:prstGeom prst="rect">
            <a:avLst/>
          </a:prstGeom>
        </p:spPr>
      </p:pic>
    </p:spTree>
    <p:extLst>
      <p:ext uri="{BB962C8B-B14F-4D97-AF65-F5344CB8AC3E}">
        <p14:creationId xmlns:p14="http://schemas.microsoft.com/office/powerpoint/2010/main" val="32908398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56FD1-4489-F55F-822B-620888FD55A9}"/>
              </a:ext>
            </a:extLst>
          </p:cNvPr>
          <p:cNvSpPr>
            <a:spLocks noGrp="1"/>
          </p:cNvSpPr>
          <p:nvPr>
            <p:ph type="ctrTitle"/>
          </p:nvPr>
        </p:nvSpPr>
        <p:spPr/>
        <p:txBody>
          <a:bodyPr/>
          <a:lstStyle/>
          <a:p>
            <a:r>
              <a:rPr lang="en-GB"/>
              <a:t>The science of emulsions</a:t>
            </a:r>
          </a:p>
        </p:txBody>
      </p:sp>
      <p:sp>
        <p:nvSpPr>
          <p:cNvPr id="3" name="Subtitle 2">
            <a:extLst>
              <a:ext uri="{FF2B5EF4-FFF2-40B4-BE49-F238E27FC236}">
                <a16:creationId xmlns:a16="http://schemas.microsoft.com/office/drawing/2014/main" id="{BE28E501-5A4E-D1A3-A7D8-65D153A748C4}"/>
              </a:ext>
            </a:extLst>
          </p:cNvPr>
          <p:cNvSpPr>
            <a:spLocks noGrp="1"/>
          </p:cNvSpPr>
          <p:nvPr>
            <p:ph type="subTitle" idx="1"/>
          </p:nvPr>
        </p:nvSpPr>
        <p:spPr>
          <a:xfrm>
            <a:off x="1169274" y="2595743"/>
            <a:ext cx="6508065" cy="3600000"/>
          </a:xfrm>
        </p:spPr>
        <p:txBody>
          <a:bodyPr/>
          <a:lstStyle/>
          <a:p>
            <a:pPr marL="0" indent="0">
              <a:buNone/>
            </a:pPr>
            <a:r>
              <a:rPr lang="en-GB"/>
              <a:t>The image in blue shows how oil can be suspended in water in an emulsion. </a:t>
            </a:r>
          </a:p>
          <a:p>
            <a:pPr marL="0" indent="0">
              <a:buNone/>
            </a:pPr>
            <a:r>
              <a:rPr lang="en-GB"/>
              <a:t>The oil is in yellow and the water in light blue. </a:t>
            </a:r>
          </a:p>
          <a:p>
            <a:pPr marL="0" indent="0">
              <a:buNone/>
            </a:pPr>
            <a:r>
              <a:rPr lang="en-GB"/>
              <a:t>The emulsifier has a tail that is hydrophobic and sits in the oil and heads that are hydrophilic that sit in the water. </a:t>
            </a:r>
          </a:p>
          <a:p>
            <a:pPr marL="0" indent="0">
              <a:buNone/>
            </a:pPr>
            <a:r>
              <a:rPr lang="en-GB"/>
              <a:t>This keeps the oil droplet mixed into the water.</a:t>
            </a:r>
          </a:p>
          <a:p>
            <a:pPr marL="0" indent="0">
              <a:buNone/>
            </a:pPr>
            <a:endParaRPr lang="en-GB"/>
          </a:p>
          <a:p>
            <a:pPr marL="0" indent="0">
              <a:buNone/>
            </a:pPr>
            <a:r>
              <a:rPr lang="en-GB"/>
              <a:t>On the right is a water in oil emulsion. The same principles apply but the hydrophobic tails point outwards and the hydrophilic heads point inwards.</a:t>
            </a:r>
          </a:p>
          <a:p>
            <a:pPr marL="0" indent="0">
              <a:buNone/>
            </a:pPr>
            <a:r>
              <a:rPr lang="en-GB"/>
              <a:t>Butter is an example of a water in oil emulsion.</a:t>
            </a:r>
          </a:p>
          <a:p>
            <a:pPr marL="0" indent="0">
              <a:buNone/>
            </a:pPr>
            <a:endParaRPr lang="en-GB"/>
          </a:p>
          <a:p>
            <a:pPr marL="0" indent="0">
              <a:buNone/>
            </a:pPr>
            <a:endParaRPr lang="en-GB"/>
          </a:p>
          <a:p>
            <a:pPr marL="0" indent="0">
              <a:buNone/>
            </a:pPr>
            <a:endParaRPr lang="en-GB"/>
          </a:p>
        </p:txBody>
      </p:sp>
      <p:pic>
        <p:nvPicPr>
          <p:cNvPr id="5" name="Picture 2">
            <a:extLst>
              <a:ext uri="{FF2B5EF4-FFF2-40B4-BE49-F238E27FC236}">
                <a16:creationId xmlns:a16="http://schemas.microsoft.com/office/drawing/2014/main" id="{CED87DA0-9588-0878-87FD-F08C3B084F3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49674" y="2595743"/>
            <a:ext cx="4077077" cy="23402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91498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E7EE5-0E3D-D184-B65F-84EC76213A72}"/>
              </a:ext>
            </a:extLst>
          </p:cNvPr>
          <p:cNvSpPr>
            <a:spLocks noGrp="1"/>
          </p:cNvSpPr>
          <p:nvPr>
            <p:ph type="ctrTitle"/>
          </p:nvPr>
        </p:nvSpPr>
        <p:spPr/>
        <p:txBody>
          <a:bodyPr/>
          <a:lstStyle/>
          <a:p>
            <a:r>
              <a:rPr lang="en-GB"/>
              <a:t>Stable and unstable emulsions</a:t>
            </a:r>
          </a:p>
        </p:txBody>
      </p:sp>
      <p:sp>
        <p:nvSpPr>
          <p:cNvPr id="74" name="Subtitle 2">
            <a:extLst>
              <a:ext uri="{FF2B5EF4-FFF2-40B4-BE49-F238E27FC236}">
                <a16:creationId xmlns:a16="http://schemas.microsoft.com/office/drawing/2014/main" id="{E686E7B3-08FC-88A4-8008-7F7C8CF37507}"/>
              </a:ext>
            </a:extLst>
          </p:cNvPr>
          <p:cNvSpPr txBox="1">
            <a:spLocks/>
          </p:cNvSpPr>
          <p:nvPr/>
        </p:nvSpPr>
        <p:spPr>
          <a:xfrm>
            <a:off x="1155803" y="2844054"/>
            <a:ext cx="4112265" cy="2833827"/>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US"/>
              <a:t>When oil and water are mixed without an emulsifier, the emulsion is unstable, and the oil and water will rapidly separate.</a:t>
            </a:r>
          </a:p>
          <a:p>
            <a:pPr marL="0" indent="0">
              <a:buFont typeface="Arial" charset="0"/>
              <a:buNone/>
            </a:pPr>
            <a:r>
              <a:rPr lang="en-US"/>
              <a:t>In a stable emulsion, the water and oil stay mixed for longer, although sometimes these can still separate over a longer period.</a:t>
            </a:r>
          </a:p>
          <a:p>
            <a:pPr marL="0" indent="0">
              <a:buFont typeface="Arial" charset="0"/>
              <a:buNone/>
            </a:pPr>
            <a:endParaRPr lang="en-US"/>
          </a:p>
        </p:txBody>
      </p:sp>
      <p:grpSp>
        <p:nvGrpSpPr>
          <p:cNvPr id="84" name="Group 83">
            <a:extLst>
              <a:ext uri="{FF2B5EF4-FFF2-40B4-BE49-F238E27FC236}">
                <a16:creationId xmlns:a16="http://schemas.microsoft.com/office/drawing/2014/main" id="{C63C3BD1-D2E7-0C27-CD4D-40A3D6D53C15}"/>
              </a:ext>
            </a:extLst>
          </p:cNvPr>
          <p:cNvGrpSpPr/>
          <p:nvPr/>
        </p:nvGrpSpPr>
        <p:grpSpPr>
          <a:xfrm>
            <a:off x="5658631" y="1923798"/>
            <a:ext cx="6205478" cy="4194493"/>
            <a:chOff x="5921181" y="1840260"/>
            <a:chExt cx="6205478" cy="4194493"/>
          </a:xfrm>
        </p:grpSpPr>
        <p:grpSp>
          <p:nvGrpSpPr>
            <p:cNvPr id="58" name="Group 57">
              <a:extLst>
                <a:ext uri="{FF2B5EF4-FFF2-40B4-BE49-F238E27FC236}">
                  <a16:creationId xmlns:a16="http://schemas.microsoft.com/office/drawing/2014/main" id="{7C84A93E-3E25-BA19-5C4B-C7905C50DA09}"/>
                </a:ext>
              </a:extLst>
            </p:cNvPr>
            <p:cNvGrpSpPr/>
            <p:nvPr/>
          </p:nvGrpSpPr>
          <p:grpSpPr>
            <a:xfrm>
              <a:off x="5921182" y="3325971"/>
              <a:ext cx="1694506" cy="1773785"/>
              <a:chOff x="7623019" y="2283798"/>
              <a:chExt cx="1694506" cy="1773785"/>
            </a:xfrm>
          </p:grpSpPr>
          <p:sp>
            <p:nvSpPr>
              <p:cNvPr id="6" name="Flowchart: Delay 5">
                <a:extLst>
                  <a:ext uri="{FF2B5EF4-FFF2-40B4-BE49-F238E27FC236}">
                    <a16:creationId xmlns:a16="http://schemas.microsoft.com/office/drawing/2014/main" id="{C11DFE88-A5B5-3512-E3FD-097C14EE3C80}"/>
                  </a:ext>
                </a:extLst>
              </p:cNvPr>
              <p:cNvSpPr/>
              <p:nvPr/>
            </p:nvSpPr>
            <p:spPr>
              <a:xfrm rot="5400000">
                <a:off x="7583379" y="2323438"/>
                <a:ext cx="1773785" cy="1694506"/>
              </a:xfrm>
              <a:prstGeom prst="flowChartDelay">
                <a:avLst/>
              </a:prstGeom>
              <a:solidFill>
                <a:srgbClr val="C0E3F2"/>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96D309F4-9C00-E12D-51D2-90BF4BF70A98}"/>
                  </a:ext>
                </a:extLst>
              </p:cNvPr>
              <p:cNvSpPr/>
              <p:nvPr/>
            </p:nvSpPr>
            <p:spPr>
              <a:xfrm>
                <a:off x="7636664" y="2299280"/>
                <a:ext cx="1666800" cy="33424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9" name="Group 58">
              <a:extLst>
                <a:ext uri="{FF2B5EF4-FFF2-40B4-BE49-F238E27FC236}">
                  <a16:creationId xmlns:a16="http://schemas.microsoft.com/office/drawing/2014/main" id="{CB004C6F-6948-E8F0-2E4E-FB90AD9CE25E}"/>
                </a:ext>
              </a:extLst>
            </p:cNvPr>
            <p:cNvGrpSpPr/>
            <p:nvPr/>
          </p:nvGrpSpPr>
          <p:grpSpPr>
            <a:xfrm>
              <a:off x="7762830" y="3322104"/>
              <a:ext cx="1694506" cy="1773785"/>
              <a:chOff x="9730966" y="2283798"/>
              <a:chExt cx="1694506" cy="1773785"/>
            </a:xfrm>
          </p:grpSpPr>
          <p:sp>
            <p:nvSpPr>
              <p:cNvPr id="7" name="Flowchart: Delay 6">
                <a:extLst>
                  <a:ext uri="{FF2B5EF4-FFF2-40B4-BE49-F238E27FC236}">
                    <a16:creationId xmlns:a16="http://schemas.microsoft.com/office/drawing/2014/main" id="{93512A55-86E9-9E26-86D7-53817DBAE6EC}"/>
                  </a:ext>
                </a:extLst>
              </p:cNvPr>
              <p:cNvSpPr/>
              <p:nvPr/>
            </p:nvSpPr>
            <p:spPr>
              <a:xfrm rot="5400000">
                <a:off x="9691326" y="2323438"/>
                <a:ext cx="1773785" cy="1694506"/>
              </a:xfrm>
              <a:prstGeom prst="flowChartDelay">
                <a:avLst/>
              </a:prstGeom>
              <a:solidFill>
                <a:srgbClr val="C0E3F2"/>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a:extLst>
                  <a:ext uri="{FF2B5EF4-FFF2-40B4-BE49-F238E27FC236}">
                    <a16:creationId xmlns:a16="http://schemas.microsoft.com/office/drawing/2014/main" id="{65232A8F-66BC-EDAA-6D18-6AB3FA303C46}"/>
                  </a:ext>
                </a:extLst>
              </p:cNvPr>
              <p:cNvSpPr/>
              <p:nvPr/>
            </p:nvSpPr>
            <p:spPr>
              <a:xfrm>
                <a:off x="10126639" y="2633523"/>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Oval 11">
                <a:extLst>
                  <a:ext uri="{FF2B5EF4-FFF2-40B4-BE49-F238E27FC236}">
                    <a16:creationId xmlns:a16="http://schemas.microsoft.com/office/drawing/2014/main" id="{3C4CDF19-496C-796D-2D56-0E103D7F2255}"/>
                  </a:ext>
                </a:extLst>
              </p:cNvPr>
              <p:cNvSpPr/>
              <p:nvPr/>
            </p:nvSpPr>
            <p:spPr>
              <a:xfrm>
                <a:off x="9982639" y="2893398"/>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59812AD7-4614-1ECA-4F04-371200CFC572}"/>
                  </a:ext>
                </a:extLst>
              </p:cNvPr>
              <p:cNvSpPr/>
              <p:nvPr/>
            </p:nvSpPr>
            <p:spPr>
              <a:xfrm>
                <a:off x="10664239" y="2444598"/>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Oval 13">
                <a:extLst>
                  <a:ext uri="{FF2B5EF4-FFF2-40B4-BE49-F238E27FC236}">
                    <a16:creationId xmlns:a16="http://schemas.microsoft.com/office/drawing/2014/main" id="{DC7F7990-E919-5B95-60E4-13CFFD82AF8F}"/>
                  </a:ext>
                </a:extLst>
              </p:cNvPr>
              <p:cNvSpPr/>
              <p:nvPr/>
            </p:nvSpPr>
            <p:spPr>
              <a:xfrm>
                <a:off x="9830329" y="2410462"/>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Oval 14">
                <a:extLst>
                  <a:ext uri="{FF2B5EF4-FFF2-40B4-BE49-F238E27FC236}">
                    <a16:creationId xmlns:a16="http://schemas.microsoft.com/office/drawing/2014/main" id="{12B76D06-5D62-3D02-295E-30F8BE47E9D0}"/>
                  </a:ext>
                </a:extLst>
              </p:cNvPr>
              <p:cNvSpPr/>
              <p:nvPr/>
            </p:nvSpPr>
            <p:spPr>
              <a:xfrm>
                <a:off x="10736239" y="3243123"/>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a:extLst>
                  <a:ext uri="{FF2B5EF4-FFF2-40B4-BE49-F238E27FC236}">
                    <a16:creationId xmlns:a16="http://schemas.microsoft.com/office/drawing/2014/main" id="{AF9E440C-39B7-64C5-70EC-75487CCBC529}"/>
                  </a:ext>
                </a:extLst>
              </p:cNvPr>
              <p:cNvSpPr/>
              <p:nvPr/>
            </p:nvSpPr>
            <p:spPr>
              <a:xfrm>
                <a:off x="9982639" y="3315123"/>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a:extLst>
                  <a:ext uri="{FF2B5EF4-FFF2-40B4-BE49-F238E27FC236}">
                    <a16:creationId xmlns:a16="http://schemas.microsoft.com/office/drawing/2014/main" id="{4FF88632-6982-B602-4595-D8E8A0D76509}"/>
                  </a:ext>
                </a:extLst>
              </p:cNvPr>
              <p:cNvSpPr/>
              <p:nvPr/>
            </p:nvSpPr>
            <p:spPr>
              <a:xfrm>
                <a:off x="11069279" y="3035426"/>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3BFD002F-825C-A37D-2FDE-DEC5C6B3A770}"/>
                  </a:ext>
                </a:extLst>
              </p:cNvPr>
              <p:cNvSpPr/>
              <p:nvPr/>
            </p:nvSpPr>
            <p:spPr>
              <a:xfrm>
                <a:off x="10431439" y="3745248"/>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a:extLst>
                  <a:ext uri="{FF2B5EF4-FFF2-40B4-BE49-F238E27FC236}">
                    <a16:creationId xmlns:a16="http://schemas.microsoft.com/office/drawing/2014/main" id="{54BAE71C-2426-90EF-847B-545D7396D632}"/>
                  </a:ext>
                </a:extLst>
              </p:cNvPr>
              <p:cNvSpPr/>
              <p:nvPr/>
            </p:nvSpPr>
            <p:spPr>
              <a:xfrm>
                <a:off x="10302146" y="3498386"/>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Oval 19">
                <a:extLst>
                  <a:ext uri="{FF2B5EF4-FFF2-40B4-BE49-F238E27FC236}">
                    <a16:creationId xmlns:a16="http://schemas.microsoft.com/office/drawing/2014/main" id="{494BB22C-148C-4FFC-DE6A-0B7ED15F6BCA}"/>
                  </a:ext>
                </a:extLst>
              </p:cNvPr>
              <p:cNvSpPr/>
              <p:nvPr/>
            </p:nvSpPr>
            <p:spPr>
              <a:xfrm>
                <a:off x="10889274" y="3625741"/>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Oval 20">
                <a:extLst>
                  <a:ext uri="{FF2B5EF4-FFF2-40B4-BE49-F238E27FC236}">
                    <a16:creationId xmlns:a16="http://schemas.microsoft.com/office/drawing/2014/main" id="{759758EB-E52D-7521-32D6-6A229E856434}"/>
                  </a:ext>
                </a:extLst>
              </p:cNvPr>
              <p:cNvSpPr/>
              <p:nvPr/>
            </p:nvSpPr>
            <p:spPr>
              <a:xfrm>
                <a:off x="10665726" y="2860505"/>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a:extLst>
                  <a:ext uri="{FF2B5EF4-FFF2-40B4-BE49-F238E27FC236}">
                    <a16:creationId xmlns:a16="http://schemas.microsoft.com/office/drawing/2014/main" id="{25532138-7EF0-780B-3F78-89A13D93284A}"/>
                  </a:ext>
                </a:extLst>
              </p:cNvPr>
              <p:cNvSpPr/>
              <p:nvPr/>
            </p:nvSpPr>
            <p:spPr>
              <a:xfrm>
                <a:off x="11169138" y="2489523"/>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Oval 22">
                <a:extLst>
                  <a:ext uri="{FF2B5EF4-FFF2-40B4-BE49-F238E27FC236}">
                    <a16:creationId xmlns:a16="http://schemas.microsoft.com/office/drawing/2014/main" id="{5403E1FA-34CE-256D-9A8D-590A4CB3C5E9}"/>
                  </a:ext>
                </a:extLst>
              </p:cNvPr>
              <p:cNvSpPr/>
              <p:nvPr/>
            </p:nvSpPr>
            <p:spPr>
              <a:xfrm>
                <a:off x="10313519" y="3201553"/>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Oval 23">
                <a:extLst>
                  <a:ext uri="{FF2B5EF4-FFF2-40B4-BE49-F238E27FC236}">
                    <a16:creationId xmlns:a16="http://schemas.microsoft.com/office/drawing/2014/main" id="{3BF1EF7E-AE32-5D24-8EBF-65FD24CC6E83}"/>
                  </a:ext>
                </a:extLst>
              </p:cNvPr>
              <p:cNvSpPr/>
              <p:nvPr/>
            </p:nvSpPr>
            <p:spPr>
              <a:xfrm>
                <a:off x="11002143" y="2721135"/>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Oval 24">
                <a:extLst>
                  <a:ext uri="{FF2B5EF4-FFF2-40B4-BE49-F238E27FC236}">
                    <a16:creationId xmlns:a16="http://schemas.microsoft.com/office/drawing/2014/main" id="{C7F80CB5-36D8-84CB-AD0D-619C4C82E895}"/>
                  </a:ext>
                </a:extLst>
              </p:cNvPr>
              <p:cNvSpPr/>
              <p:nvPr/>
            </p:nvSpPr>
            <p:spPr>
              <a:xfrm>
                <a:off x="10362512" y="2851828"/>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0" name="Group 59">
              <a:extLst>
                <a:ext uri="{FF2B5EF4-FFF2-40B4-BE49-F238E27FC236}">
                  <a16:creationId xmlns:a16="http://schemas.microsoft.com/office/drawing/2014/main" id="{10C4216C-9AA6-9B81-9C68-7AD7B3BBD7A0}"/>
                </a:ext>
              </a:extLst>
            </p:cNvPr>
            <p:cNvGrpSpPr/>
            <p:nvPr/>
          </p:nvGrpSpPr>
          <p:grpSpPr>
            <a:xfrm>
              <a:off x="10383339" y="2125026"/>
              <a:ext cx="1694506" cy="1773785"/>
              <a:chOff x="7623019" y="4407309"/>
              <a:chExt cx="1694506" cy="1773785"/>
            </a:xfrm>
          </p:grpSpPr>
          <p:sp>
            <p:nvSpPr>
              <p:cNvPr id="9" name="Flowchart: Delay 8">
                <a:extLst>
                  <a:ext uri="{FF2B5EF4-FFF2-40B4-BE49-F238E27FC236}">
                    <a16:creationId xmlns:a16="http://schemas.microsoft.com/office/drawing/2014/main" id="{92FB7C94-E1D6-7340-F330-AA7DC17493EB}"/>
                  </a:ext>
                </a:extLst>
              </p:cNvPr>
              <p:cNvSpPr/>
              <p:nvPr/>
            </p:nvSpPr>
            <p:spPr>
              <a:xfrm rot="5400000">
                <a:off x="7583379" y="4446949"/>
                <a:ext cx="1773785" cy="1694506"/>
              </a:xfrm>
              <a:prstGeom prst="flowChartDelay">
                <a:avLst/>
              </a:prstGeom>
              <a:solidFill>
                <a:srgbClr val="C0E3F2"/>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a:extLst>
                  <a:ext uri="{FF2B5EF4-FFF2-40B4-BE49-F238E27FC236}">
                    <a16:creationId xmlns:a16="http://schemas.microsoft.com/office/drawing/2014/main" id="{06F740CE-AEB2-B2E9-8A2E-05973AEDE896}"/>
                  </a:ext>
                </a:extLst>
              </p:cNvPr>
              <p:cNvSpPr/>
              <p:nvPr/>
            </p:nvSpPr>
            <p:spPr>
              <a:xfrm>
                <a:off x="8018060" y="4671866"/>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Oval 26">
                <a:extLst>
                  <a:ext uri="{FF2B5EF4-FFF2-40B4-BE49-F238E27FC236}">
                    <a16:creationId xmlns:a16="http://schemas.microsoft.com/office/drawing/2014/main" id="{DC756927-4221-57A3-C303-E784728E87A5}"/>
                  </a:ext>
                </a:extLst>
              </p:cNvPr>
              <p:cNvSpPr/>
              <p:nvPr/>
            </p:nvSpPr>
            <p:spPr>
              <a:xfrm>
                <a:off x="7690975" y="4826848"/>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Oval 27">
                <a:extLst>
                  <a:ext uri="{FF2B5EF4-FFF2-40B4-BE49-F238E27FC236}">
                    <a16:creationId xmlns:a16="http://schemas.microsoft.com/office/drawing/2014/main" id="{5BC4F124-56EB-A427-3262-320AE1CF42F5}"/>
                  </a:ext>
                </a:extLst>
              </p:cNvPr>
              <p:cNvSpPr/>
              <p:nvPr/>
            </p:nvSpPr>
            <p:spPr>
              <a:xfrm>
                <a:off x="8555660" y="4482941"/>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Oval 28">
                <a:extLst>
                  <a:ext uri="{FF2B5EF4-FFF2-40B4-BE49-F238E27FC236}">
                    <a16:creationId xmlns:a16="http://schemas.microsoft.com/office/drawing/2014/main" id="{01566755-96A0-A2FB-DCAB-091D7FFF6F53}"/>
                  </a:ext>
                </a:extLst>
              </p:cNvPr>
              <p:cNvSpPr/>
              <p:nvPr/>
            </p:nvSpPr>
            <p:spPr>
              <a:xfrm>
                <a:off x="7721750" y="4448805"/>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Oval 29">
                <a:extLst>
                  <a:ext uri="{FF2B5EF4-FFF2-40B4-BE49-F238E27FC236}">
                    <a16:creationId xmlns:a16="http://schemas.microsoft.com/office/drawing/2014/main" id="{F4FFA48B-C149-2837-98F6-B622BFD2F19C}"/>
                  </a:ext>
                </a:extLst>
              </p:cNvPr>
              <p:cNvSpPr/>
              <p:nvPr/>
            </p:nvSpPr>
            <p:spPr>
              <a:xfrm>
                <a:off x="8388939" y="4777584"/>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Oval 30">
                <a:extLst>
                  <a:ext uri="{FF2B5EF4-FFF2-40B4-BE49-F238E27FC236}">
                    <a16:creationId xmlns:a16="http://schemas.microsoft.com/office/drawing/2014/main" id="{23F56C72-175D-69B2-E36C-6A515672A70F}"/>
                  </a:ext>
                </a:extLst>
              </p:cNvPr>
              <p:cNvSpPr/>
              <p:nvPr/>
            </p:nvSpPr>
            <p:spPr>
              <a:xfrm>
                <a:off x="8187582" y="4482941"/>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Oval 31">
                <a:extLst>
                  <a:ext uri="{FF2B5EF4-FFF2-40B4-BE49-F238E27FC236}">
                    <a16:creationId xmlns:a16="http://schemas.microsoft.com/office/drawing/2014/main" id="{42B56E80-8D53-B8AA-3446-180E4CC9C98E}"/>
                  </a:ext>
                </a:extLst>
              </p:cNvPr>
              <p:cNvSpPr/>
              <p:nvPr/>
            </p:nvSpPr>
            <p:spPr>
              <a:xfrm>
                <a:off x="8664499" y="4882698"/>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Oval 32">
                <a:extLst>
                  <a:ext uri="{FF2B5EF4-FFF2-40B4-BE49-F238E27FC236}">
                    <a16:creationId xmlns:a16="http://schemas.microsoft.com/office/drawing/2014/main" id="{2F8BE814-F736-05D3-3A61-22AE42F5700C}"/>
                  </a:ext>
                </a:extLst>
              </p:cNvPr>
              <p:cNvSpPr/>
              <p:nvPr/>
            </p:nvSpPr>
            <p:spPr>
              <a:xfrm>
                <a:off x="8348940" y="4593338"/>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Oval 33">
                <a:extLst>
                  <a:ext uri="{FF2B5EF4-FFF2-40B4-BE49-F238E27FC236}">
                    <a16:creationId xmlns:a16="http://schemas.microsoft.com/office/drawing/2014/main" id="{154753D8-C294-5721-1C6A-D6329369FE45}"/>
                  </a:ext>
                </a:extLst>
              </p:cNvPr>
              <p:cNvSpPr/>
              <p:nvPr/>
            </p:nvSpPr>
            <p:spPr>
              <a:xfrm>
                <a:off x="7808377" y="4638809"/>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Oval 34">
                <a:extLst>
                  <a:ext uri="{FF2B5EF4-FFF2-40B4-BE49-F238E27FC236}">
                    <a16:creationId xmlns:a16="http://schemas.microsoft.com/office/drawing/2014/main" id="{248914E1-83B5-B085-4231-CE1B475B30B1}"/>
                  </a:ext>
                </a:extLst>
              </p:cNvPr>
              <p:cNvSpPr/>
              <p:nvPr/>
            </p:nvSpPr>
            <p:spPr>
              <a:xfrm>
                <a:off x="8541603" y="4710809"/>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Oval 35">
                <a:extLst>
                  <a:ext uri="{FF2B5EF4-FFF2-40B4-BE49-F238E27FC236}">
                    <a16:creationId xmlns:a16="http://schemas.microsoft.com/office/drawing/2014/main" id="{A9150E0A-911C-78EE-B0EB-09E71A02650B}"/>
                  </a:ext>
                </a:extLst>
              </p:cNvPr>
              <p:cNvSpPr/>
              <p:nvPr/>
            </p:nvSpPr>
            <p:spPr>
              <a:xfrm>
                <a:off x="8557147" y="4898848"/>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Oval 36">
                <a:extLst>
                  <a:ext uri="{FF2B5EF4-FFF2-40B4-BE49-F238E27FC236}">
                    <a16:creationId xmlns:a16="http://schemas.microsoft.com/office/drawing/2014/main" id="{3D7F3314-CF6D-2F0E-B392-51108D3BC0B2}"/>
                  </a:ext>
                </a:extLst>
              </p:cNvPr>
              <p:cNvSpPr/>
              <p:nvPr/>
            </p:nvSpPr>
            <p:spPr>
              <a:xfrm>
                <a:off x="9060559" y="4527866"/>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Oval 37">
                <a:extLst>
                  <a:ext uri="{FF2B5EF4-FFF2-40B4-BE49-F238E27FC236}">
                    <a16:creationId xmlns:a16="http://schemas.microsoft.com/office/drawing/2014/main" id="{7DF30E5B-FB9F-097C-7ADF-F051AEFC0943}"/>
                  </a:ext>
                </a:extLst>
              </p:cNvPr>
              <p:cNvSpPr/>
              <p:nvPr/>
            </p:nvSpPr>
            <p:spPr>
              <a:xfrm>
                <a:off x="8131478" y="4859042"/>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Oval 38">
                <a:extLst>
                  <a:ext uri="{FF2B5EF4-FFF2-40B4-BE49-F238E27FC236}">
                    <a16:creationId xmlns:a16="http://schemas.microsoft.com/office/drawing/2014/main" id="{DB51EEFC-8B7B-84C1-D6DC-FD55C3599C7E}"/>
                  </a:ext>
                </a:extLst>
              </p:cNvPr>
              <p:cNvSpPr/>
              <p:nvPr/>
            </p:nvSpPr>
            <p:spPr>
              <a:xfrm>
                <a:off x="8946380" y="4719338"/>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Oval 39">
                <a:extLst>
                  <a:ext uri="{FF2B5EF4-FFF2-40B4-BE49-F238E27FC236}">
                    <a16:creationId xmlns:a16="http://schemas.microsoft.com/office/drawing/2014/main" id="{80D47833-3D01-DB73-E6F3-64EEF9BB3432}"/>
                  </a:ext>
                </a:extLst>
              </p:cNvPr>
              <p:cNvSpPr/>
              <p:nvPr/>
            </p:nvSpPr>
            <p:spPr>
              <a:xfrm>
                <a:off x="8206588" y="4859042"/>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Oval 40">
                <a:extLst>
                  <a:ext uri="{FF2B5EF4-FFF2-40B4-BE49-F238E27FC236}">
                    <a16:creationId xmlns:a16="http://schemas.microsoft.com/office/drawing/2014/main" id="{30333F8C-36E4-CFD3-8926-FE01CC5D8380}"/>
                  </a:ext>
                </a:extLst>
              </p:cNvPr>
              <p:cNvSpPr/>
              <p:nvPr/>
            </p:nvSpPr>
            <p:spPr>
              <a:xfrm>
                <a:off x="7846588" y="4533283"/>
                <a:ext cx="360000"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Oval 41">
                <a:extLst>
                  <a:ext uri="{FF2B5EF4-FFF2-40B4-BE49-F238E27FC236}">
                    <a16:creationId xmlns:a16="http://schemas.microsoft.com/office/drawing/2014/main" id="{60B92943-87FB-3DD9-9DE8-453DD1B8AEB7}"/>
                  </a:ext>
                </a:extLst>
              </p:cNvPr>
              <p:cNvSpPr/>
              <p:nvPr/>
            </p:nvSpPr>
            <p:spPr>
              <a:xfrm>
                <a:off x="8671656" y="4539338"/>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1" name="Group 60">
              <a:extLst>
                <a:ext uri="{FF2B5EF4-FFF2-40B4-BE49-F238E27FC236}">
                  <a16:creationId xmlns:a16="http://schemas.microsoft.com/office/drawing/2014/main" id="{B4155462-5751-34F8-FAF2-AB514589F677}"/>
                </a:ext>
              </a:extLst>
            </p:cNvPr>
            <p:cNvGrpSpPr/>
            <p:nvPr/>
          </p:nvGrpSpPr>
          <p:grpSpPr>
            <a:xfrm>
              <a:off x="10396495" y="4260968"/>
              <a:ext cx="1694506" cy="1773785"/>
              <a:chOff x="9730967" y="4407309"/>
              <a:chExt cx="1694506" cy="1773785"/>
            </a:xfrm>
          </p:grpSpPr>
          <p:sp>
            <p:nvSpPr>
              <p:cNvPr id="8" name="Flowchart: Delay 7">
                <a:extLst>
                  <a:ext uri="{FF2B5EF4-FFF2-40B4-BE49-F238E27FC236}">
                    <a16:creationId xmlns:a16="http://schemas.microsoft.com/office/drawing/2014/main" id="{16BDBC5C-67BD-A380-2934-D3FECF454C6E}"/>
                  </a:ext>
                </a:extLst>
              </p:cNvPr>
              <p:cNvSpPr/>
              <p:nvPr/>
            </p:nvSpPr>
            <p:spPr>
              <a:xfrm rot="5400000">
                <a:off x="9691327" y="4446949"/>
                <a:ext cx="1773785" cy="1694506"/>
              </a:xfrm>
              <a:prstGeom prst="flowChartDelay">
                <a:avLst/>
              </a:prstGeom>
              <a:solidFill>
                <a:srgbClr val="C0E3F2"/>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Oval 42">
                <a:extLst>
                  <a:ext uri="{FF2B5EF4-FFF2-40B4-BE49-F238E27FC236}">
                    <a16:creationId xmlns:a16="http://schemas.microsoft.com/office/drawing/2014/main" id="{6D04648C-19C5-DD0B-EDF9-28361F5D5864}"/>
                  </a:ext>
                </a:extLst>
              </p:cNvPr>
              <p:cNvSpPr/>
              <p:nvPr/>
            </p:nvSpPr>
            <p:spPr>
              <a:xfrm>
                <a:off x="10115965" y="4750927"/>
                <a:ext cx="144000" cy="144000"/>
              </a:xfrm>
              <a:prstGeom prst="ellipse">
                <a:avLst/>
              </a:prstGeom>
              <a:solidFill>
                <a:schemeClr val="accent4"/>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Oval 43">
                <a:extLst>
                  <a:ext uri="{FF2B5EF4-FFF2-40B4-BE49-F238E27FC236}">
                    <a16:creationId xmlns:a16="http://schemas.microsoft.com/office/drawing/2014/main" id="{F4EF4F43-C3A6-5715-D315-7B755013F805}"/>
                  </a:ext>
                </a:extLst>
              </p:cNvPr>
              <p:cNvSpPr/>
              <p:nvPr/>
            </p:nvSpPr>
            <p:spPr>
              <a:xfrm>
                <a:off x="9971965" y="5010802"/>
                <a:ext cx="144000" cy="144000"/>
              </a:xfrm>
              <a:prstGeom prst="ellipse">
                <a:avLst/>
              </a:prstGeom>
              <a:solidFill>
                <a:schemeClr val="accent4"/>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Oval 44">
                <a:extLst>
                  <a:ext uri="{FF2B5EF4-FFF2-40B4-BE49-F238E27FC236}">
                    <a16:creationId xmlns:a16="http://schemas.microsoft.com/office/drawing/2014/main" id="{11FD4957-B665-D018-5E3D-F0936A23CC7A}"/>
                  </a:ext>
                </a:extLst>
              </p:cNvPr>
              <p:cNvSpPr/>
              <p:nvPr/>
            </p:nvSpPr>
            <p:spPr>
              <a:xfrm>
                <a:off x="10653565" y="4562002"/>
                <a:ext cx="144000" cy="144000"/>
              </a:xfrm>
              <a:prstGeom prst="ellipse">
                <a:avLst/>
              </a:prstGeom>
              <a:solidFill>
                <a:schemeClr val="accent4"/>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Oval 45">
                <a:extLst>
                  <a:ext uri="{FF2B5EF4-FFF2-40B4-BE49-F238E27FC236}">
                    <a16:creationId xmlns:a16="http://schemas.microsoft.com/office/drawing/2014/main" id="{A2911EC9-D3FB-4CE5-914A-7662C8918D59}"/>
                  </a:ext>
                </a:extLst>
              </p:cNvPr>
              <p:cNvSpPr/>
              <p:nvPr/>
            </p:nvSpPr>
            <p:spPr>
              <a:xfrm>
                <a:off x="9819655" y="4527866"/>
                <a:ext cx="144000" cy="144000"/>
              </a:xfrm>
              <a:prstGeom prst="ellipse">
                <a:avLst/>
              </a:prstGeom>
              <a:solidFill>
                <a:schemeClr val="accent4"/>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Oval 46">
                <a:extLst>
                  <a:ext uri="{FF2B5EF4-FFF2-40B4-BE49-F238E27FC236}">
                    <a16:creationId xmlns:a16="http://schemas.microsoft.com/office/drawing/2014/main" id="{37A2FDD7-3AA9-FD8E-8995-412EDF4DBDB7}"/>
                  </a:ext>
                </a:extLst>
              </p:cNvPr>
              <p:cNvSpPr/>
              <p:nvPr/>
            </p:nvSpPr>
            <p:spPr>
              <a:xfrm>
                <a:off x="10725565" y="5360527"/>
                <a:ext cx="144000" cy="144000"/>
              </a:xfrm>
              <a:prstGeom prst="ellipse">
                <a:avLst/>
              </a:prstGeom>
              <a:solidFill>
                <a:schemeClr val="accent4"/>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Oval 47">
                <a:extLst>
                  <a:ext uri="{FF2B5EF4-FFF2-40B4-BE49-F238E27FC236}">
                    <a16:creationId xmlns:a16="http://schemas.microsoft.com/office/drawing/2014/main" id="{46ADE1BA-3A37-FF53-7F55-1707B8574D0C}"/>
                  </a:ext>
                </a:extLst>
              </p:cNvPr>
              <p:cNvSpPr/>
              <p:nvPr/>
            </p:nvSpPr>
            <p:spPr>
              <a:xfrm>
                <a:off x="9971965" y="5432527"/>
                <a:ext cx="144000" cy="144000"/>
              </a:xfrm>
              <a:prstGeom prst="ellipse">
                <a:avLst/>
              </a:prstGeom>
              <a:solidFill>
                <a:schemeClr val="accent4"/>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Oval 48">
                <a:extLst>
                  <a:ext uri="{FF2B5EF4-FFF2-40B4-BE49-F238E27FC236}">
                    <a16:creationId xmlns:a16="http://schemas.microsoft.com/office/drawing/2014/main" id="{6A94EA1C-AA6E-87C4-6D50-924BE1B97D63}"/>
                  </a:ext>
                </a:extLst>
              </p:cNvPr>
              <p:cNvSpPr/>
              <p:nvPr/>
            </p:nvSpPr>
            <p:spPr>
              <a:xfrm>
                <a:off x="11058605" y="5152830"/>
                <a:ext cx="144000" cy="144000"/>
              </a:xfrm>
              <a:prstGeom prst="ellipse">
                <a:avLst/>
              </a:prstGeom>
              <a:solidFill>
                <a:schemeClr val="accent4"/>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Oval 49">
                <a:extLst>
                  <a:ext uri="{FF2B5EF4-FFF2-40B4-BE49-F238E27FC236}">
                    <a16:creationId xmlns:a16="http://schemas.microsoft.com/office/drawing/2014/main" id="{E3784671-F1BD-AA9C-921F-5F73A932C014}"/>
                  </a:ext>
                </a:extLst>
              </p:cNvPr>
              <p:cNvSpPr/>
              <p:nvPr/>
            </p:nvSpPr>
            <p:spPr>
              <a:xfrm>
                <a:off x="10420765" y="5862652"/>
                <a:ext cx="144000" cy="144000"/>
              </a:xfrm>
              <a:prstGeom prst="ellipse">
                <a:avLst/>
              </a:prstGeom>
              <a:solidFill>
                <a:schemeClr val="accent4"/>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Oval 50">
                <a:extLst>
                  <a:ext uri="{FF2B5EF4-FFF2-40B4-BE49-F238E27FC236}">
                    <a16:creationId xmlns:a16="http://schemas.microsoft.com/office/drawing/2014/main" id="{A798C81F-8CFA-9D94-9101-43E8027E3678}"/>
                  </a:ext>
                </a:extLst>
              </p:cNvPr>
              <p:cNvSpPr/>
              <p:nvPr/>
            </p:nvSpPr>
            <p:spPr>
              <a:xfrm>
                <a:off x="10291472" y="5615790"/>
                <a:ext cx="144000" cy="144000"/>
              </a:xfrm>
              <a:prstGeom prst="ellipse">
                <a:avLst/>
              </a:prstGeom>
              <a:solidFill>
                <a:schemeClr val="accent4"/>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Oval 51">
                <a:extLst>
                  <a:ext uri="{FF2B5EF4-FFF2-40B4-BE49-F238E27FC236}">
                    <a16:creationId xmlns:a16="http://schemas.microsoft.com/office/drawing/2014/main" id="{2737AB18-6C02-ECCA-754A-CAA77F779044}"/>
                  </a:ext>
                </a:extLst>
              </p:cNvPr>
              <p:cNvSpPr/>
              <p:nvPr/>
            </p:nvSpPr>
            <p:spPr>
              <a:xfrm>
                <a:off x="10878600" y="5743145"/>
                <a:ext cx="144000" cy="144000"/>
              </a:xfrm>
              <a:prstGeom prst="ellipse">
                <a:avLst/>
              </a:prstGeom>
              <a:solidFill>
                <a:schemeClr val="accent4"/>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Oval 52">
                <a:extLst>
                  <a:ext uri="{FF2B5EF4-FFF2-40B4-BE49-F238E27FC236}">
                    <a16:creationId xmlns:a16="http://schemas.microsoft.com/office/drawing/2014/main" id="{0CF6BAC6-9A09-5DE4-8CCC-94E94130E082}"/>
                  </a:ext>
                </a:extLst>
              </p:cNvPr>
              <p:cNvSpPr/>
              <p:nvPr/>
            </p:nvSpPr>
            <p:spPr>
              <a:xfrm>
                <a:off x="10655052" y="4977909"/>
                <a:ext cx="144000" cy="144000"/>
              </a:xfrm>
              <a:prstGeom prst="ellipse">
                <a:avLst/>
              </a:prstGeom>
              <a:solidFill>
                <a:schemeClr val="accent4"/>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Oval 53">
                <a:extLst>
                  <a:ext uri="{FF2B5EF4-FFF2-40B4-BE49-F238E27FC236}">
                    <a16:creationId xmlns:a16="http://schemas.microsoft.com/office/drawing/2014/main" id="{820032F0-5998-E3DC-869E-9A1EF67169B5}"/>
                  </a:ext>
                </a:extLst>
              </p:cNvPr>
              <p:cNvSpPr/>
              <p:nvPr/>
            </p:nvSpPr>
            <p:spPr>
              <a:xfrm>
                <a:off x="11158464" y="4606927"/>
                <a:ext cx="144000" cy="144000"/>
              </a:xfrm>
              <a:prstGeom prst="ellipse">
                <a:avLst/>
              </a:prstGeom>
              <a:solidFill>
                <a:schemeClr val="accent4"/>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Oval 54">
                <a:extLst>
                  <a:ext uri="{FF2B5EF4-FFF2-40B4-BE49-F238E27FC236}">
                    <a16:creationId xmlns:a16="http://schemas.microsoft.com/office/drawing/2014/main" id="{FCF0BE03-DDA1-AC0A-C9D8-6666918BD30A}"/>
                  </a:ext>
                </a:extLst>
              </p:cNvPr>
              <p:cNvSpPr/>
              <p:nvPr/>
            </p:nvSpPr>
            <p:spPr>
              <a:xfrm>
                <a:off x="10302845" y="5318957"/>
                <a:ext cx="144000" cy="144000"/>
              </a:xfrm>
              <a:prstGeom prst="ellipse">
                <a:avLst/>
              </a:prstGeom>
              <a:solidFill>
                <a:schemeClr val="accent4"/>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Oval 55">
                <a:extLst>
                  <a:ext uri="{FF2B5EF4-FFF2-40B4-BE49-F238E27FC236}">
                    <a16:creationId xmlns:a16="http://schemas.microsoft.com/office/drawing/2014/main" id="{EA364B77-B6FC-A446-D7CD-EB4306AD6080}"/>
                  </a:ext>
                </a:extLst>
              </p:cNvPr>
              <p:cNvSpPr/>
              <p:nvPr/>
            </p:nvSpPr>
            <p:spPr>
              <a:xfrm>
                <a:off x="10991469" y="4838539"/>
                <a:ext cx="144000" cy="144000"/>
              </a:xfrm>
              <a:prstGeom prst="ellipse">
                <a:avLst/>
              </a:prstGeom>
              <a:solidFill>
                <a:schemeClr val="accent4"/>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Oval 56">
                <a:extLst>
                  <a:ext uri="{FF2B5EF4-FFF2-40B4-BE49-F238E27FC236}">
                    <a16:creationId xmlns:a16="http://schemas.microsoft.com/office/drawing/2014/main" id="{EA94BAB1-12B0-81A9-3F1A-60F95D92236F}"/>
                  </a:ext>
                </a:extLst>
              </p:cNvPr>
              <p:cNvSpPr/>
              <p:nvPr/>
            </p:nvSpPr>
            <p:spPr>
              <a:xfrm>
                <a:off x="10351838" y="4969232"/>
                <a:ext cx="144000" cy="144000"/>
              </a:xfrm>
              <a:prstGeom prst="ellipse">
                <a:avLst/>
              </a:prstGeom>
              <a:solidFill>
                <a:schemeClr val="accent4"/>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2" name="TextBox 61">
              <a:extLst>
                <a:ext uri="{FF2B5EF4-FFF2-40B4-BE49-F238E27FC236}">
                  <a16:creationId xmlns:a16="http://schemas.microsoft.com/office/drawing/2014/main" id="{01F049A2-BEB1-B797-5C84-30BBDD8715A9}"/>
                </a:ext>
              </a:extLst>
            </p:cNvPr>
            <p:cNvSpPr txBox="1"/>
            <p:nvPr/>
          </p:nvSpPr>
          <p:spPr>
            <a:xfrm>
              <a:off x="5921181" y="3007051"/>
              <a:ext cx="1666800" cy="253916"/>
            </a:xfrm>
            <a:prstGeom prst="rect">
              <a:avLst/>
            </a:prstGeom>
            <a:noFill/>
          </p:spPr>
          <p:txBody>
            <a:bodyPr wrap="square" rtlCol="0">
              <a:spAutoFit/>
            </a:bodyPr>
            <a:lstStyle/>
            <a:p>
              <a:pPr algn="ctr"/>
              <a:r>
                <a:rPr lang="en-GB" sz="1050">
                  <a:latin typeface="Arial" panose="020B0604020202020204" pitchFamily="34" charset="0"/>
                  <a:cs typeface="Arial" panose="020B0604020202020204" pitchFamily="34" charset="0"/>
                </a:rPr>
                <a:t>1. Unmixed oil and water</a:t>
              </a:r>
            </a:p>
          </p:txBody>
        </p:sp>
        <p:cxnSp>
          <p:nvCxnSpPr>
            <p:cNvPr id="64" name="Straight Arrow Connector 63">
              <a:extLst>
                <a:ext uri="{FF2B5EF4-FFF2-40B4-BE49-F238E27FC236}">
                  <a16:creationId xmlns:a16="http://schemas.microsoft.com/office/drawing/2014/main" id="{94DFF3BD-1737-DCEA-B5CE-B61DEFDAD1B6}"/>
                </a:ext>
              </a:extLst>
            </p:cNvPr>
            <p:cNvCxnSpPr/>
            <p:nvPr/>
          </p:nvCxnSpPr>
          <p:spPr>
            <a:xfrm>
              <a:off x="7343309" y="5020363"/>
              <a:ext cx="744570" cy="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9DDCF76D-E103-584A-C9D4-2048705EA6CF}"/>
                </a:ext>
              </a:extLst>
            </p:cNvPr>
            <p:cNvSpPr txBox="1"/>
            <p:nvPr/>
          </p:nvSpPr>
          <p:spPr>
            <a:xfrm>
              <a:off x="6820896" y="5135953"/>
              <a:ext cx="1666800" cy="253916"/>
            </a:xfrm>
            <a:prstGeom prst="rect">
              <a:avLst/>
            </a:prstGeom>
            <a:noFill/>
          </p:spPr>
          <p:txBody>
            <a:bodyPr wrap="square" rtlCol="0">
              <a:spAutoFit/>
            </a:bodyPr>
            <a:lstStyle/>
            <a:p>
              <a:pPr algn="ctr"/>
              <a:r>
                <a:rPr lang="en-GB" sz="1050">
                  <a:latin typeface="Arial" panose="020B0604020202020204" pitchFamily="34" charset="0"/>
                  <a:cs typeface="Arial" panose="020B0604020202020204" pitchFamily="34" charset="0"/>
                </a:rPr>
                <a:t>Mixing/shaking</a:t>
              </a:r>
            </a:p>
          </p:txBody>
        </p:sp>
        <p:cxnSp>
          <p:nvCxnSpPr>
            <p:cNvPr id="66" name="Straight Arrow Connector 65">
              <a:extLst>
                <a:ext uri="{FF2B5EF4-FFF2-40B4-BE49-F238E27FC236}">
                  <a16:creationId xmlns:a16="http://schemas.microsoft.com/office/drawing/2014/main" id="{5B9D39C2-3D15-48FA-6341-67F29EFAAD83}"/>
                </a:ext>
              </a:extLst>
            </p:cNvPr>
            <p:cNvCxnSpPr>
              <a:cxnSpLocks/>
            </p:cNvCxnSpPr>
            <p:nvPr/>
          </p:nvCxnSpPr>
          <p:spPr>
            <a:xfrm flipV="1">
              <a:off x="9651924" y="3011919"/>
              <a:ext cx="623759" cy="51591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D59B59F0-E8ED-E542-CFE8-57A94D49B063}"/>
                </a:ext>
              </a:extLst>
            </p:cNvPr>
            <p:cNvCxnSpPr>
              <a:cxnSpLocks/>
            </p:cNvCxnSpPr>
            <p:nvPr/>
          </p:nvCxnSpPr>
          <p:spPr>
            <a:xfrm>
              <a:off x="9649726" y="4042811"/>
              <a:ext cx="623759" cy="51591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B42920F7-634B-8642-11C3-401E2642477A}"/>
                </a:ext>
              </a:extLst>
            </p:cNvPr>
            <p:cNvSpPr txBox="1"/>
            <p:nvPr/>
          </p:nvSpPr>
          <p:spPr>
            <a:xfrm rot="19129657">
              <a:off x="9217213" y="2946482"/>
              <a:ext cx="1257798" cy="253916"/>
            </a:xfrm>
            <a:prstGeom prst="rect">
              <a:avLst/>
            </a:prstGeom>
            <a:noFill/>
          </p:spPr>
          <p:txBody>
            <a:bodyPr wrap="square" rtlCol="0">
              <a:spAutoFit/>
            </a:bodyPr>
            <a:lstStyle/>
            <a:p>
              <a:pPr algn="ctr"/>
              <a:r>
                <a:rPr lang="en-GB" sz="1050">
                  <a:latin typeface="Arial" panose="020B0604020202020204" pitchFamily="34" charset="0"/>
                  <a:cs typeface="Arial" panose="020B0604020202020204" pitchFamily="34" charset="0"/>
                </a:rPr>
                <a:t>No emulsifier</a:t>
              </a:r>
            </a:p>
          </p:txBody>
        </p:sp>
        <p:sp>
          <p:nvSpPr>
            <p:cNvPr id="70" name="TextBox 69">
              <a:extLst>
                <a:ext uri="{FF2B5EF4-FFF2-40B4-BE49-F238E27FC236}">
                  <a16:creationId xmlns:a16="http://schemas.microsoft.com/office/drawing/2014/main" id="{44F5DD74-C5E9-1B15-7217-D4391FD43B00}"/>
                </a:ext>
              </a:extLst>
            </p:cNvPr>
            <p:cNvSpPr txBox="1"/>
            <p:nvPr/>
          </p:nvSpPr>
          <p:spPr>
            <a:xfrm rot="2359259">
              <a:off x="9196983" y="4355652"/>
              <a:ext cx="1257798" cy="253916"/>
            </a:xfrm>
            <a:prstGeom prst="rect">
              <a:avLst/>
            </a:prstGeom>
            <a:noFill/>
          </p:spPr>
          <p:txBody>
            <a:bodyPr wrap="square" rtlCol="0">
              <a:spAutoFit/>
            </a:bodyPr>
            <a:lstStyle/>
            <a:p>
              <a:pPr algn="ctr"/>
              <a:r>
                <a:rPr lang="en-GB" sz="1050">
                  <a:latin typeface="Arial" panose="020B0604020202020204" pitchFamily="34" charset="0"/>
                  <a:cs typeface="Arial" panose="020B0604020202020204" pitchFamily="34" charset="0"/>
                </a:rPr>
                <a:t>Emulsifier</a:t>
              </a:r>
            </a:p>
          </p:txBody>
        </p:sp>
        <p:sp>
          <p:nvSpPr>
            <p:cNvPr id="71" name="TextBox 70">
              <a:extLst>
                <a:ext uri="{FF2B5EF4-FFF2-40B4-BE49-F238E27FC236}">
                  <a16:creationId xmlns:a16="http://schemas.microsoft.com/office/drawing/2014/main" id="{B9DDFC79-5752-15E5-37C0-B0C2D4C55735}"/>
                </a:ext>
              </a:extLst>
            </p:cNvPr>
            <p:cNvSpPr txBox="1"/>
            <p:nvPr/>
          </p:nvSpPr>
          <p:spPr>
            <a:xfrm>
              <a:off x="7715594" y="3027723"/>
              <a:ext cx="1666800" cy="253916"/>
            </a:xfrm>
            <a:prstGeom prst="rect">
              <a:avLst/>
            </a:prstGeom>
            <a:noFill/>
          </p:spPr>
          <p:txBody>
            <a:bodyPr wrap="square" rtlCol="0">
              <a:spAutoFit/>
            </a:bodyPr>
            <a:lstStyle/>
            <a:p>
              <a:pPr algn="ctr"/>
              <a:r>
                <a:rPr lang="en-GB" sz="1050">
                  <a:latin typeface="Arial" panose="020B0604020202020204" pitchFamily="34" charset="0"/>
                  <a:cs typeface="Arial" panose="020B0604020202020204" pitchFamily="34" charset="0"/>
                </a:rPr>
                <a:t>2. Emulsion formed</a:t>
              </a:r>
            </a:p>
          </p:txBody>
        </p:sp>
        <p:sp>
          <p:nvSpPr>
            <p:cNvPr id="72" name="TextBox 71">
              <a:extLst>
                <a:ext uri="{FF2B5EF4-FFF2-40B4-BE49-F238E27FC236}">
                  <a16:creationId xmlns:a16="http://schemas.microsoft.com/office/drawing/2014/main" id="{A96BA419-DD06-02DC-BB1B-7CF4F7D5E897}"/>
                </a:ext>
              </a:extLst>
            </p:cNvPr>
            <p:cNvSpPr txBox="1"/>
            <p:nvPr/>
          </p:nvSpPr>
          <p:spPr>
            <a:xfrm>
              <a:off x="10403085" y="1840260"/>
              <a:ext cx="1666800" cy="253916"/>
            </a:xfrm>
            <a:prstGeom prst="rect">
              <a:avLst/>
            </a:prstGeom>
            <a:noFill/>
          </p:spPr>
          <p:txBody>
            <a:bodyPr wrap="square" rtlCol="0">
              <a:spAutoFit/>
            </a:bodyPr>
            <a:lstStyle/>
            <a:p>
              <a:pPr algn="ctr"/>
              <a:r>
                <a:rPr lang="en-GB" sz="1050">
                  <a:latin typeface="Arial" panose="020B0604020202020204" pitchFamily="34" charset="0"/>
                  <a:cs typeface="Arial" panose="020B0604020202020204" pitchFamily="34" charset="0"/>
                </a:rPr>
                <a:t>3. Unstable emulsion</a:t>
              </a:r>
            </a:p>
          </p:txBody>
        </p:sp>
        <p:sp>
          <p:nvSpPr>
            <p:cNvPr id="73" name="TextBox 72">
              <a:extLst>
                <a:ext uri="{FF2B5EF4-FFF2-40B4-BE49-F238E27FC236}">
                  <a16:creationId xmlns:a16="http://schemas.microsoft.com/office/drawing/2014/main" id="{19009CD7-D824-2655-104C-3069FD7D6D9E}"/>
                </a:ext>
              </a:extLst>
            </p:cNvPr>
            <p:cNvSpPr txBox="1"/>
            <p:nvPr/>
          </p:nvSpPr>
          <p:spPr>
            <a:xfrm>
              <a:off x="10459859" y="4010472"/>
              <a:ext cx="1666800" cy="253916"/>
            </a:xfrm>
            <a:prstGeom prst="rect">
              <a:avLst/>
            </a:prstGeom>
            <a:noFill/>
          </p:spPr>
          <p:txBody>
            <a:bodyPr wrap="square" rtlCol="0">
              <a:spAutoFit/>
            </a:bodyPr>
            <a:lstStyle/>
            <a:p>
              <a:pPr algn="ctr"/>
              <a:r>
                <a:rPr lang="en-GB" sz="1050">
                  <a:latin typeface="Arial" panose="020B0604020202020204" pitchFamily="34" charset="0"/>
                  <a:cs typeface="Arial" panose="020B0604020202020204" pitchFamily="34" charset="0"/>
                </a:rPr>
                <a:t>4. Stable emulsion</a:t>
              </a:r>
            </a:p>
          </p:txBody>
        </p:sp>
        <p:sp>
          <p:nvSpPr>
            <p:cNvPr id="82" name="Freeform: Shape 81">
              <a:extLst>
                <a:ext uri="{FF2B5EF4-FFF2-40B4-BE49-F238E27FC236}">
                  <a16:creationId xmlns:a16="http://schemas.microsoft.com/office/drawing/2014/main" id="{9CB14F38-9C18-7943-88D5-BB8DB8965C7F}"/>
                </a:ext>
              </a:extLst>
            </p:cNvPr>
            <p:cNvSpPr/>
            <p:nvPr/>
          </p:nvSpPr>
          <p:spPr>
            <a:xfrm rot="21356445">
              <a:off x="6781118" y="2257706"/>
              <a:ext cx="3413156" cy="604726"/>
            </a:xfrm>
            <a:custGeom>
              <a:avLst/>
              <a:gdLst>
                <a:gd name="connsiteX0" fmla="*/ 3413156 w 3413156"/>
                <a:gd name="connsiteY0" fmla="*/ 79625 h 604726"/>
                <a:gd name="connsiteX1" fmla="*/ 977774 w 3413156"/>
                <a:gd name="connsiteY1" fmla="*/ 43411 h 604726"/>
                <a:gd name="connsiteX2" fmla="*/ 0 w 3413156"/>
                <a:gd name="connsiteY2" fmla="*/ 604726 h 604726"/>
              </a:gdLst>
              <a:ahLst/>
              <a:cxnLst>
                <a:cxn ang="0">
                  <a:pos x="connsiteX0" y="connsiteY0"/>
                </a:cxn>
                <a:cxn ang="0">
                  <a:pos x="connsiteX1" y="connsiteY1"/>
                </a:cxn>
                <a:cxn ang="0">
                  <a:pos x="connsiteX2" y="connsiteY2"/>
                </a:cxn>
              </a:cxnLst>
              <a:rect l="l" t="t" r="r" b="b"/>
              <a:pathLst>
                <a:path w="3413156" h="604726">
                  <a:moveTo>
                    <a:pt x="3413156" y="79625"/>
                  </a:moveTo>
                  <a:cubicBezTo>
                    <a:pt x="2479894" y="17759"/>
                    <a:pt x="1546633" y="-44106"/>
                    <a:pt x="977774" y="43411"/>
                  </a:cubicBezTo>
                  <a:cubicBezTo>
                    <a:pt x="408915" y="130928"/>
                    <a:pt x="155418" y="539843"/>
                    <a:pt x="0" y="604726"/>
                  </a:cubicBezTo>
                </a:path>
              </a:pathLst>
            </a:custGeom>
            <a:noFill/>
            <a:ln w="76200">
              <a:solidFill>
                <a:schemeClr val="accent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TextBox 82">
              <a:extLst>
                <a:ext uri="{FF2B5EF4-FFF2-40B4-BE49-F238E27FC236}">
                  <a16:creationId xmlns:a16="http://schemas.microsoft.com/office/drawing/2014/main" id="{19B88721-B6EF-DEBF-8465-A1DC49C444A9}"/>
                </a:ext>
              </a:extLst>
            </p:cNvPr>
            <p:cNvSpPr txBox="1"/>
            <p:nvPr/>
          </p:nvSpPr>
          <p:spPr>
            <a:xfrm>
              <a:off x="8293402" y="1959270"/>
              <a:ext cx="1991474" cy="253916"/>
            </a:xfrm>
            <a:prstGeom prst="rect">
              <a:avLst/>
            </a:prstGeom>
            <a:noFill/>
          </p:spPr>
          <p:txBody>
            <a:bodyPr wrap="square" rtlCol="0">
              <a:spAutoFit/>
            </a:bodyPr>
            <a:lstStyle/>
            <a:p>
              <a:pPr algn="ctr"/>
              <a:r>
                <a:rPr lang="en-GB" sz="1050">
                  <a:latin typeface="Arial" panose="020B0604020202020204" pitchFamily="34" charset="0"/>
                  <a:cs typeface="Arial" panose="020B0604020202020204" pitchFamily="34" charset="0"/>
                </a:rPr>
                <a:t>Unstable emulsion separates</a:t>
              </a:r>
            </a:p>
          </p:txBody>
        </p:sp>
      </p:grpSp>
    </p:spTree>
    <p:extLst>
      <p:ext uri="{BB962C8B-B14F-4D97-AF65-F5344CB8AC3E}">
        <p14:creationId xmlns:p14="http://schemas.microsoft.com/office/powerpoint/2010/main" val="27217019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E7EE5-0E3D-D184-B65F-84EC76213A72}"/>
              </a:ext>
            </a:extLst>
          </p:cNvPr>
          <p:cNvSpPr>
            <a:spLocks noGrp="1"/>
          </p:cNvSpPr>
          <p:nvPr>
            <p:ph type="ctrTitle"/>
          </p:nvPr>
        </p:nvSpPr>
        <p:spPr/>
        <p:txBody>
          <a:bodyPr/>
          <a:lstStyle/>
          <a:p>
            <a:r>
              <a:rPr lang="en-GB"/>
              <a:t>Emulsions in food</a:t>
            </a:r>
          </a:p>
        </p:txBody>
      </p:sp>
      <p:sp>
        <p:nvSpPr>
          <p:cNvPr id="74" name="Subtitle 2">
            <a:extLst>
              <a:ext uri="{FF2B5EF4-FFF2-40B4-BE49-F238E27FC236}">
                <a16:creationId xmlns:a16="http://schemas.microsoft.com/office/drawing/2014/main" id="{E686E7B3-08FC-88A4-8008-7F7C8CF37507}"/>
              </a:ext>
            </a:extLst>
          </p:cNvPr>
          <p:cNvSpPr txBox="1">
            <a:spLocks/>
          </p:cNvSpPr>
          <p:nvPr/>
        </p:nvSpPr>
        <p:spPr>
          <a:xfrm>
            <a:off x="1169274" y="2545289"/>
            <a:ext cx="6141290" cy="3375677"/>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US"/>
              <a:t>Emulsions found in the kitchen are often sauces, condiments, or dressings.</a:t>
            </a:r>
          </a:p>
          <a:p>
            <a:pPr marL="0" indent="0">
              <a:buFont typeface="Arial" charset="0"/>
              <a:buNone/>
            </a:pPr>
            <a:r>
              <a:rPr lang="en-US"/>
              <a:t>Examples include:</a:t>
            </a:r>
          </a:p>
          <a:p>
            <a:r>
              <a:rPr lang="en-US"/>
              <a:t>vinaigrettes;</a:t>
            </a:r>
          </a:p>
          <a:p>
            <a:r>
              <a:rPr lang="en-US"/>
              <a:t>mayonnaise;</a:t>
            </a:r>
          </a:p>
          <a:p>
            <a:r>
              <a:rPr lang="en-US"/>
              <a:t>Hollandaise sauce;</a:t>
            </a:r>
          </a:p>
          <a:p>
            <a:r>
              <a:rPr lang="en-US"/>
              <a:t>butter.</a:t>
            </a:r>
          </a:p>
          <a:p>
            <a:endParaRPr lang="en-US"/>
          </a:p>
          <a:p>
            <a:pPr marL="0" indent="0">
              <a:buNone/>
            </a:pPr>
            <a:endParaRPr lang="en-US"/>
          </a:p>
          <a:p>
            <a:pPr marL="0" indent="0">
              <a:buFont typeface="Arial" charset="0"/>
              <a:buNone/>
            </a:pPr>
            <a:endParaRPr lang="en-US"/>
          </a:p>
        </p:txBody>
      </p:sp>
      <p:pic>
        <p:nvPicPr>
          <p:cNvPr id="3" name="Picture 2" descr="A picture containing food&#10;&#10;Description automatically generated">
            <a:extLst>
              <a:ext uri="{FF2B5EF4-FFF2-40B4-BE49-F238E27FC236}">
                <a16:creationId xmlns:a16="http://schemas.microsoft.com/office/drawing/2014/main" id="{43F843B4-CA4E-0F28-FAFA-75E96DC4F626}"/>
              </a:ext>
            </a:extLst>
          </p:cNvPr>
          <p:cNvPicPr>
            <a:picLocks noChangeAspect="1"/>
          </p:cNvPicPr>
          <p:nvPr/>
        </p:nvPicPr>
        <p:blipFill>
          <a:blip r:embed="rId2"/>
          <a:stretch>
            <a:fillRect/>
          </a:stretch>
        </p:blipFill>
        <p:spPr>
          <a:xfrm>
            <a:off x="7543257" y="4233294"/>
            <a:ext cx="2648755" cy="2023449"/>
          </a:xfrm>
          <a:prstGeom prst="rect">
            <a:avLst/>
          </a:prstGeom>
        </p:spPr>
      </p:pic>
      <p:pic>
        <p:nvPicPr>
          <p:cNvPr id="4" name="Picture 3" descr="A glass of liquid&#10;&#10;Description automatically generated with low confidence">
            <a:extLst>
              <a:ext uri="{FF2B5EF4-FFF2-40B4-BE49-F238E27FC236}">
                <a16:creationId xmlns:a16="http://schemas.microsoft.com/office/drawing/2014/main" id="{3E980B0D-4F0C-30B0-8CDF-2A7A2A747532}"/>
              </a:ext>
            </a:extLst>
          </p:cNvPr>
          <p:cNvPicPr>
            <a:picLocks noChangeAspect="1"/>
          </p:cNvPicPr>
          <p:nvPr/>
        </p:nvPicPr>
        <p:blipFill rotWithShape="1">
          <a:blip r:embed="rId3"/>
          <a:srcRect l="4975" t="33301" r="2470" b="7079"/>
          <a:stretch/>
        </p:blipFill>
        <p:spPr>
          <a:xfrm>
            <a:off x="7866994" y="1923798"/>
            <a:ext cx="2001282" cy="1718858"/>
          </a:xfrm>
          <a:prstGeom prst="rect">
            <a:avLst/>
          </a:prstGeom>
        </p:spPr>
      </p:pic>
      <p:pic>
        <p:nvPicPr>
          <p:cNvPr id="5" name="Picture 4">
            <a:extLst>
              <a:ext uri="{FF2B5EF4-FFF2-40B4-BE49-F238E27FC236}">
                <a16:creationId xmlns:a16="http://schemas.microsoft.com/office/drawing/2014/main" id="{DF9B87B5-7834-A5D8-887E-F345E804B238}"/>
              </a:ext>
            </a:extLst>
          </p:cNvPr>
          <p:cNvPicPr>
            <a:picLocks noChangeAspect="1"/>
          </p:cNvPicPr>
          <p:nvPr/>
        </p:nvPicPr>
        <p:blipFill>
          <a:blip r:embed="rId4"/>
          <a:stretch>
            <a:fillRect/>
          </a:stretch>
        </p:blipFill>
        <p:spPr>
          <a:xfrm>
            <a:off x="10109840" y="2783227"/>
            <a:ext cx="2082160" cy="2050928"/>
          </a:xfrm>
          <a:prstGeom prst="rect">
            <a:avLst/>
          </a:prstGeom>
        </p:spPr>
      </p:pic>
    </p:spTree>
    <p:extLst>
      <p:ext uri="{BB962C8B-B14F-4D97-AF65-F5344CB8AC3E}">
        <p14:creationId xmlns:p14="http://schemas.microsoft.com/office/powerpoint/2010/main" val="24998526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E7EE5-0E3D-D184-B65F-84EC76213A72}"/>
              </a:ext>
            </a:extLst>
          </p:cNvPr>
          <p:cNvSpPr>
            <a:spLocks noGrp="1"/>
          </p:cNvSpPr>
          <p:nvPr>
            <p:ph type="ctrTitle"/>
          </p:nvPr>
        </p:nvSpPr>
        <p:spPr/>
        <p:txBody>
          <a:bodyPr/>
          <a:lstStyle/>
          <a:p>
            <a:r>
              <a:rPr lang="en-GB"/>
              <a:t>Making mayonnaise</a:t>
            </a:r>
          </a:p>
        </p:txBody>
      </p:sp>
      <p:sp>
        <p:nvSpPr>
          <p:cNvPr id="74" name="Subtitle 2">
            <a:extLst>
              <a:ext uri="{FF2B5EF4-FFF2-40B4-BE49-F238E27FC236}">
                <a16:creationId xmlns:a16="http://schemas.microsoft.com/office/drawing/2014/main" id="{E686E7B3-08FC-88A4-8008-7F7C8CF37507}"/>
              </a:ext>
            </a:extLst>
          </p:cNvPr>
          <p:cNvSpPr txBox="1">
            <a:spLocks/>
          </p:cNvSpPr>
          <p:nvPr/>
        </p:nvSpPr>
        <p:spPr>
          <a:xfrm>
            <a:off x="1169274" y="2545289"/>
            <a:ext cx="4181324" cy="3375677"/>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US"/>
              <a:t>Mayonnaise is an oil in water emulsion. </a:t>
            </a:r>
          </a:p>
          <a:p>
            <a:pPr marL="0" indent="0">
              <a:buFont typeface="Arial" charset="0"/>
              <a:buNone/>
            </a:pPr>
            <a:r>
              <a:rPr lang="en-US"/>
              <a:t>Egg yolk and mustard are mixed and act as emulsifiers.</a:t>
            </a:r>
          </a:p>
          <a:p>
            <a:pPr marL="0" indent="0">
              <a:buFont typeface="Arial" charset="0"/>
              <a:buNone/>
            </a:pPr>
            <a:r>
              <a:rPr lang="en-US"/>
              <a:t>Oil is then slowly added and whisked in. If the oil is added too quickly, the emulsion becomes unstable and collapses.</a:t>
            </a:r>
          </a:p>
          <a:p>
            <a:pPr marL="0" indent="0">
              <a:buFont typeface="Arial" charset="0"/>
              <a:buNone/>
            </a:pPr>
            <a:r>
              <a:rPr lang="en-US"/>
              <a:t>Vinegar is added to help preserve the mayonnaise and add </a:t>
            </a:r>
            <a:r>
              <a:rPr lang="en-US" err="1"/>
              <a:t>flavour</a:t>
            </a:r>
            <a:r>
              <a:rPr lang="en-US"/>
              <a:t>.</a:t>
            </a:r>
          </a:p>
          <a:p>
            <a:pPr marL="0" indent="0">
              <a:buFont typeface="Arial" charset="0"/>
              <a:buNone/>
            </a:pPr>
            <a:endParaRPr lang="en-US"/>
          </a:p>
        </p:txBody>
      </p:sp>
      <p:pic>
        <p:nvPicPr>
          <p:cNvPr id="3" name="Content Placeholder 4">
            <a:extLst>
              <a:ext uri="{FF2B5EF4-FFF2-40B4-BE49-F238E27FC236}">
                <a16:creationId xmlns:a16="http://schemas.microsoft.com/office/drawing/2014/main" id="{8B32F244-0A8D-5012-2FC0-EB4456BF331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998" t="632" r="10755"/>
          <a:stretch/>
        </p:blipFill>
        <p:spPr>
          <a:xfrm>
            <a:off x="5333180" y="2817823"/>
            <a:ext cx="2278194" cy="1738504"/>
          </a:xfrm>
          <a:prstGeom prst="ellipse">
            <a:avLst/>
          </a:prstGeom>
          <a:ln>
            <a:noFill/>
          </a:ln>
          <a:effectLst>
            <a:softEdge rad="112500"/>
          </a:effectLst>
        </p:spPr>
      </p:pic>
      <p:pic>
        <p:nvPicPr>
          <p:cNvPr id="4" name="Picture 3">
            <a:extLst>
              <a:ext uri="{FF2B5EF4-FFF2-40B4-BE49-F238E27FC236}">
                <a16:creationId xmlns:a16="http://schemas.microsoft.com/office/drawing/2014/main" id="{4EF12802-1338-3E35-9E71-7CDDEAF5D8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44077" y="2950378"/>
            <a:ext cx="2331203" cy="1554135"/>
          </a:xfrm>
          <a:prstGeom prst="ellipse">
            <a:avLst/>
          </a:prstGeom>
          <a:ln>
            <a:noFill/>
          </a:ln>
          <a:effectLst>
            <a:softEdge rad="112500"/>
          </a:effectLst>
        </p:spPr>
      </p:pic>
      <p:pic>
        <p:nvPicPr>
          <p:cNvPr id="5" name="Picture 4">
            <a:extLst>
              <a:ext uri="{FF2B5EF4-FFF2-40B4-BE49-F238E27FC236}">
                <a16:creationId xmlns:a16="http://schemas.microsoft.com/office/drawing/2014/main" id="{B048E703-1D39-663E-A9AA-B6E0E1ADCBD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27921" y="1467814"/>
            <a:ext cx="2619255" cy="1746170"/>
          </a:xfrm>
          <a:prstGeom prst="ellipse">
            <a:avLst/>
          </a:prstGeom>
          <a:ln>
            <a:noFill/>
          </a:ln>
          <a:effectLst>
            <a:softEdge rad="112500"/>
          </a:effectLst>
        </p:spPr>
      </p:pic>
      <p:pic>
        <p:nvPicPr>
          <p:cNvPr id="6" name="Picture 5">
            <a:extLst>
              <a:ext uri="{FF2B5EF4-FFF2-40B4-BE49-F238E27FC236}">
                <a16:creationId xmlns:a16="http://schemas.microsoft.com/office/drawing/2014/main" id="{C44E7EEC-A445-7A1C-5BCC-6A0F2E2DF76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84646" y="4262802"/>
            <a:ext cx="2562530" cy="1708353"/>
          </a:xfrm>
          <a:prstGeom prst="ellipse">
            <a:avLst/>
          </a:prstGeom>
          <a:ln>
            <a:noFill/>
          </a:ln>
          <a:effectLst>
            <a:softEdge rad="112500"/>
          </a:effectLst>
        </p:spPr>
      </p:pic>
      <p:cxnSp>
        <p:nvCxnSpPr>
          <p:cNvPr id="7" name="Straight Arrow Connector 6">
            <a:extLst>
              <a:ext uri="{FF2B5EF4-FFF2-40B4-BE49-F238E27FC236}">
                <a16:creationId xmlns:a16="http://schemas.microsoft.com/office/drawing/2014/main" id="{D1A67964-286C-2E04-DD7F-D705DC8D7474}"/>
              </a:ext>
            </a:extLst>
          </p:cNvPr>
          <p:cNvCxnSpPr>
            <a:cxnSpLocks/>
          </p:cNvCxnSpPr>
          <p:nvPr/>
        </p:nvCxnSpPr>
        <p:spPr>
          <a:xfrm flipV="1">
            <a:off x="6987615" y="2762113"/>
            <a:ext cx="623759" cy="515910"/>
          </a:xfrm>
          <a:prstGeom prst="straightConnector1">
            <a:avLst/>
          </a:prstGeom>
          <a:ln w="76200">
            <a:solidFill>
              <a:schemeClr val="accent2"/>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237F7B4F-E7C6-F076-DCD4-2384FE60AAE1}"/>
              </a:ext>
            </a:extLst>
          </p:cNvPr>
          <p:cNvCxnSpPr>
            <a:cxnSpLocks/>
          </p:cNvCxnSpPr>
          <p:nvPr/>
        </p:nvCxnSpPr>
        <p:spPr>
          <a:xfrm>
            <a:off x="9463723" y="2705853"/>
            <a:ext cx="623759" cy="515910"/>
          </a:xfrm>
          <a:prstGeom prst="straightConnector1">
            <a:avLst/>
          </a:prstGeom>
          <a:ln w="76200">
            <a:solidFill>
              <a:schemeClr val="accent2"/>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C7BD597F-E384-7E0F-E276-B10040798D31}"/>
              </a:ext>
            </a:extLst>
          </p:cNvPr>
          <p:cNvCxnSpPr>
            <a:cxnSpLocks/>
          </p:cNvCxnSpPr>
          <p:nvPr/>
        </p:nvCxnSpPr>
        <p:spPr>
          <a:xfrm flipH="1">
            <a:off x="9488697" y="4233127"/>
            <a:ext cx="623759" cy="515910"/>
          </a:xfrm>
          <a:prstGeom prst="straightConnector1">
            <a:avLst/>
          </a:prstGeom>
          <a:ln w="76200">
            <a:solidFill>
              <a:schemeClr val="accent2"/>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09E8A4F-679F-FB6D-5656-1E92F21E35CB}"/>
              </a:ext>
            </a:extLst>
          </p:cNvPr>
          <p:cNvSpPr txBox="1"/>
          <p:nvPr/>
        </p:nvSpPr>
        <p:spPr>
          <a:xfrm>
            <a:off x="5395218" y="2576629"/>
            <a:ext cx="1889428"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Egg yolk and mustard</a:t>
            </a:r>
          </a:p>
        </p:txBody>
      </p:sp>
      <p:sp>
        <p:nvSpPr>
          <p:cNvPr id="12" name="TextBox 11">
            <a:extLst>
              <a:ext uri="{FF2B5EF4-FFF2-40B4-BE49-F238E27FC236}">
                <a16:creationId xmlns:a16="http://schemas.microsoft.com/office/drawing/2014/main" id="{8E04ABFC-346B-9899-80B3-B742AA5AB9A5}"/>
              </a:ext>
            </a:extLst>
          </p:cNvPr>
          <p:cNvSpPr txBox="1"/>
          <p:nvPr/>
        </p:nvSpPr>
        <p:spPr>
          <a:xfrm>
            <a:off x="9746361" y="2715881"/>
            <a:ext cx="1889428"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Oil whisked in slowly </a:t>
            </a:r>
          </a:p>
        </p:txBody>
      </p:sp>
      <p:sp>
        <p:nvSpPr>
          <p:cNvPr id="13" name="TextBox 12">
            <a:extLst>
              <a:ext uri="{FF2B5EF4-FFF2-40B4-BE49-F238E27FC236}">
                <a16:creationId xmlns:a16="http://schemas.microsoft.com/office/drawing/2014/main" id="{68AA8F21-69E0-BAA4-C775-797D8AF111A6}"/>
              </a:ext>
            </a:extLst>
          </p:cNvPr>
          <p:cNvSpPr txBox="1"/>
          <p:nvPr/>
        </p:nvSpPr>
        <p:spPr>
          <a:xfrm>
            <a:off x="9847176" y="4982721"/>
            <a:ext cx="1414481"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Vinegar added*</a:t>
            </a:r>
          </a:p>
        </p:txBody>
      </p:sp>
      <p:sp>
        <p:nvSpPr>
          <p:cNvPr id="14" name="TextBox 13">
            <a:extLst>
              <a:ext uri="{FF2B5EF4-FFF2-40B4-BE49-F238E27FC236}">
                <a16:creationId xmlns:a16="http://schemas.microsoft.com/office/drawing/2014/main" id="{DE7C297C-F22B-9758-CBA4-962E995F790A}"/>
              </a:ext>
            </a:extLst>
          </p:cNvPr>
          <p:cNvSpPr txBox="1"/>
          <p:nvPr/>
        </p:nvSpPr>
        <p:spPr>
          <a:xfrm>
            <a:off x="10112456" y="5920966"/>
            <a:ext cx="1938490" cy="246221"/>
          </a:xfrm>
          <a:prstGeom prst="rect">
            <a:avLst/>
          </a:prstGeom>
          <a:noFill/>
        </p:spPr>
        <p:txBody>
          <a:bodyPr wrap="square" rtlCol="0">
            <a:spAutoFit/>
          </a:bodyPr>
          <a:lstStyle/>
          <a:p>
            <a:pPr algn="ctr"/>
            <a:r>
              <a:rPr lang="en-GB" sz="1000">
                <a:solidFill>
                  <a:srgbClr val="002060"/>
                </a:solidFill>
                <a:latin typeface="Arial" panose="020B0604020202020204" pitchFamily="34" charset="0"/>
                <a:cs typeface="Arial" panose="020B0604020202020204" pitchFamily="34" charset="0"/>
              </a:rPr>
              <a:t>*</a:t>
            </a:r>
            <a:r>
              <a:rPr lang="en-GB" sz="1000">
                <a:latin typeface="Arial" panose="020B0604020202020204" pitchFamily="34" charset="0"/>
                <a:cs typeface="Arial" panose="020B0604020202020204" pitchFamily="34" charset="0"/>
              </a:rPr>
              <a:t>Acid makes the colour paler</a:t>
            </a:r>
          </a:p>
        </p:txBody>
      </p:sp>
      <p:sp>
        <p:nvSpPr>
          <p:cNvPr id="10" name="TextBox 9">
            <a:extLst>
              <a:ext uri="{FF2B5EF4-FFF2-40B4-BE49-F238E27FC236}">
                <a16:creationId xmlns:a16="http://schemas.microsoft.com/office/drawing/2014/main" id="{C943567B-AC36-8DF3-E794-062557745BDF}"/>
              </a:ext>
            </a:extLst>
          </p:cNvPr>
          <p:cNvSpPr txBox="1"/>
          <p:nvPr/>
        </p:nvSpPr>
        <p:spPr>
          <a:xfrm>
            <a:off x="5878748" y="6000830"/>
            <a:ext cx="2698346" cy="43088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a:latin typeface="Arial"/>
                <a:cs typeface="Arial"/>
              </a:rPr>
              <a:t>Photographs courtesy of Barbara Monks @ </a:t>
            </a:r>
            <a:r>
              <a:rPr lang="en-US" sz="1100" b="1">
                <a:latin typeface="Arial"/>
                <a:ea typeface="+mn-lt"/>
                <a:cs typeface="+mn-lt"/>
                <a:hlinkClick r:id="rId6"/>
              </a:rPr>
              <a:t>https://thecookeryteacher.com/</a:t>
            </a:r>
            <a:r>
              <a:rPr lang="en-US" sz="1100">
                <a:latin typeface="Arial"/>
                <a:ea typeface="+mn-lt"/>
                <a:cs typeface="+mn-lt"/>
              </a:rPr>
              <a:t> </a:t>
            </a:r>
            <a:endParaRPr lang="en-US" sz="1100">
              <a:latin typeface="Arial"/>
              <a:cs typeface="Arial"/>
            </a:endParaRPr>
          </a:p>
        </p:txBody>
      </p:sp>
    </p:spTree>
    <p:extLst>
      <p:ext uri="{BB962C8B-B14F-4D97-AF65-F5344CB8AC3E}">
        <p14:creationId xmlns:p14="http://schemas.microsoft.com/office/powerpoint/2010/main" val="41773931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p:txBody>
          <a:bodyPr/>
          <a:lstStyle/>
          <a:p>
            <a:r>
              <a:rPr lang="en-GB">
                <a:latin typeface="Arial"/>
                <a:cs typeface="Arial"/>
              </a:rPr>
              <a:t>Key words </a:t>
            </a:r>
            <a:endParaRPr lang="en-GB"/>
          </a:p>
        </p:txBody>
      </p:sp>
      <p:graphicFrame>
        <p:nvGraphicFramePr>
          <p:cNvPr id="4" name="Table 4">
            <a:extLst>
              <a:ext uri="{FF2B5EF4-FFF2-40B4-BE49-F238E27FC236}">
                <a16:creationId xmlns:a16="http://schemas.microsoft.com/office/drawing/2014/main" id="{852C40F4-3A0C-2C57-5C1A-53EF072895F3}"/>
              </a:ext>
            </a:extLst>
          </p:cNvPr>
          <p:cNvGraphicFramePr>
            <a:graphicFrameLocks noGrp="1"/>
          </p:cNvGraphicFramePr>
          <p:nvPr>
            <p:extLst>
              <p:ext uri="{D42A27DB-BD31-4B8C-83A1-F6EECF244321}">
                <p14:modId xmlns:p14="http://schemas.microsoft.com/office/powerpoint/2010/main" val="1087357620"/>
              </p:ext>
            </p:extLst>
          </p:nvPr>
        </p:nvGraphicFramePr>
        <p:xfrm>
          <a:off x="1192530" y="2560701"/>
          <a:ext cx="9930774" cy="3993654"/>
        </p:xfrm>
        <a:graphic>
          <a:graphicData uri="http://schemas.openxmlformats.org/drawingml/2006/table">
            <a:tbl>
              <a:tblPr firstRow="1" bandRow="1">
                <a:tableStyleId>{00A15C55-8517-42AA-B614-E9B94910E393}</a:tableStyleId>
              </a:tblPr>
              <a:tblGrid>
                <a:gridCol w="2664209">
                  <a:extLst>
                    <a:ext uri="{9D8B030D-6E8A-4147-A177-3AD203B41FA5}">
                      <a16:colId xmlns:a16="http://schemas.microsoft.com/office/drawing/2014/main" val="2283084407"/>
                    </a:ext>
                  </a:extLst>
                </a:gridCol>
                <a:gridCol w="7266565">
                  <a:extLst>
                    <a:ext uri="{9D8B030D-6E8A-4147-A177-3AD203B41FA5}">
                      <a16:colId xmlns:a16="http://schemas.microsoft.com/office/drawing/2014/main" val="58838503"/>
                    </a:ext>
                  </a:extLst>
                </a:gridCol>
              </a:tblGrid>
              <a:tr h="456178">
                <a:tc>
                  <a:txBody>
                    <a:bodyPr/>
                    <a:lstStyle/>
                    <a:p>
                      <a:pPr algn="ctr"/>
                      <a:r>
                        <a:rPr lang="en-US" sz="1800">
                          <a:latin typeface="Arial"/>
                        </a:rPr>
                        <a:t>Key word</a:t>
                      </a:r>
                    </a:p>
                  </a:txBody>
                  <a:tcPr anchor="ctr"/>
                </a:tc>
                <a:tc>
                  <a:txBody>
                    <a:bodyPr/>
                    <a:lstStyle/>
                    <a:p>
                      <a:r>
                        <a:rPr lang="en-US" sz="1800">
                          <a:latin typeface="Arial"/>
                        </a:rPr>
                        <a:t>Meaning</a:t>
                      </a:r>
                    </a:p>
                  </a:txBody>
                  <a:tcPr anchor="ctr"/>
                </a:tc>
                <a:extLst>
                  <a:ext uri="{0D108BD9-81ED-4DB2-BD59-A6C34878D82A}">
                    <a16:rowId xmlns:a16="http://schemas.microsoft.com/office/drawing/2014/main" val="475827214"/>
                  </a:ext>
                </a:extLst>
              </a:tr>
              <a:tr h="5209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a:latin typeface="Arial"/>
                        </a:rPr>
                        <a:t>Emulsifier</a:t>
                      </a:r>
                    </a:p>
                  </a:txBody>
                  <a:tcPr anchor="ctr"/>
                </a:tc>
                <a:tc>
                  <a:txBody>
                    <a:bodyPr/>
                    <a:lstStyle/>
                    <a:p>
                      <a:r>
                        <a:rPr lang="en-GB" sz="1800">
                          <a:latin typeface="Arial" panose="020B0604020202020204" pitchFamily="34" charset="0"/>
                          <a:cs typeface="Arial" panose="020B0604020202020204" pitchFamily="34" charset="0"/>
                        </a:rPr>
                        <a:t>A substance which helps mixtures of oils and water to coalesce/mix.</a:t>
                      </a:r>
                    </a:p>
                  </a:txBody>
                  <a:tcPr anchor="ctr"/>
                </a:tc>
                <a:extLst>
                  <a:ext uri="{0D108BD9-81ED-4DB2-BD59-A6C34878D82A}">
                    <a16:rowId xmlns:a16="http://schemas.microsoft.com/office/drawing/2014/main" val="756034829"/>
                  </a:ext>
                </a:extLst>
              </a:tr>
              <a:tr h="456178">
                <a:tc>
                  <a:txBody>
                    <a:bodyPr/>
                    <a:lstStyle/>
                    <a:p>
                      <a:pPr lvl="0" algn="ctr">
                        <a:buNone/>
                      </a:pPr>
                      <a:r>
                        <a:rPr lang="en-US" sz="1800" b="1">
                          <a:latin typeface="Arial"/>
                        </a:rPr>
                        <a:t>Emulsion</a:t>
                      </a:r>
                    </a:p>
                  </a:txBody>
                  <a:tcPr anchor="ctr"/>
                </a:tc>
                <a:tc>
                  <a:txBody>
                    <a:bodyPr/>
                    <a:lstStyle/>
                    <a:p>
                      <a:r>
                        <a:rPr lang="en-GB" sz="1800">
                          <a:latin typeface="Arial" panose="020B0604020202020204" pitchFamily="34" charset="0"/>
                          <a:cs typeface="Arial" panose="020B0604020202020204" pitchFamily="34" charset="0"/>
                        </a:rPr>
                        <a:t>A colloid which has a fine mixture of two liquids such as oil and water which would not normally mix, e.g., mayonnaise.</a:t>
                      </a:r>
                    </a:p>
                  </a:txBody>
                  <a:tcPr anchor="ctr"/>
                </a:tc>
                <a:extLst>
                  <a:ext uri="{0D108BD9-81ED-4DB2-BD59-A6C34878D82A}">
                    <a16:rowId xmlns:a16="http://schemas.microsoft.com/office/drawing/2014/main" val="1223495877"/>
                  </a:ext>
                </a:extLst>
              </a:tr>
              <a:tr h="456178">
                <a:tc>
                  <a:txBody>
                    <a:bodyPr/>
                    <a:lstStyle/>
                    <a:p>
                      <a:pPr lvl="0" algn="ctr">
                        <a:buNone/>
                      </a:pPr>
                      <a:r>
                        <a:rPr lang="en-US" sz="1800" b="1">
                          <a:latin typeface="Arial"/>
                        </a:rPr>
                        <a:t>Hydrophilic</a:t>
                      </a:r>
                    </a:p>
                  </a:txBody>
                  <a:tcPr anchor="ctr"/>
                </a:tc>
                <a:tc>
                  <a:txBody>
                    <a:bodyPr/>
                    <a:lstStyle/>
                    <a:p>
                      <a:r>
                        <a:rPr lang="en-GB" sz="1800">
                          <a:latin typeface="Arial" panose="020B0604020202020204" pitchFamily="34" charset="0"/>
                          <a:cs typeface="Arial" panose="020B0604020202020204" pitchFamily="34" charset="0"/>
                        </a:rPr>
                        <a:t>‘Water loving’ – tends to mix and/or form a solution with water, e.g., salt.</a:t>
                      </a:r>
                      <a:endParaRPr lang="en-US" sz="18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318793018"/>
                  </a:ext>
                </a:extLst>
              </a:tr>
              <a:tr h="456178">
                <a:tc>
                  <a:txBody>
                    <a:bodyPr/>
                    <a:lstStyle/>
                    <a:p>
                      <a:pPr algn="ctr"/>
                      <a:r>
                        <a:rPr lang="en-US" sz="1800" b="1">
                          <a:latin typeface="Arial"/>
                        </a:rPr>
                        <a:t>Hydrophobic</a:t>
                      </a:r>
                    </a:p>
                  </a:txBody>
                  <a:tcPr anchor="ctr"/>
                </a:tc>
                <a:tc>
                  <a:txBody>
                    <a:bodyPr/>
                    <a:lstStyle/>
                    <a:p>
                      <a:pPr lvl="0">
                        <a:buNone/>
                      </a:pPr>
                      <a:r>
                        <a:rPr lang="en-GB" sz="1800">
                          <a:latin typeface="Arial" panose="020B0604020202020204" pitchFamily="34" charset="0"/>
                          <a:cs typeface="Arial" panose="020B0604020202020204" pitchFamily="34" charset="0"/>
                        </a:rPr>
                        <a:t>‘Water hating’ – tends not to mix and/or form a solution with water, e.g., oil.</a:t>
                      </a:r>
                      <a:endParaRPr lang="en-US" sz="18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042541781"/>
                  </a:ext>
                </a:extLst>
              </a:tr>
              <a:tr h="4561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a:latin typeface="Arial"/>
                        </a:rPr>
                        <a:t>Lecithin</a:t>
                      </a:r>
                    </a:p>
                  </a:txBody>
                  <a:tcPr anchor="ctr"/>
                </a:tc>
                <a:tc>
                  <a:txBody>
                    <a:bodyPr/>
                    <a:lstStyle/>
                    <a:p>
                      <a:pPr lvl="0">
                        <a:buNone/>
                      </a:pPr>
                      <a:r>
                        <a:rPr lang="en-GB" sz="1800">
                          <a:latin typeface="Arial" panose="020B0604020202020204" pitchFamily="34" charset="0"/>
                          <a:cs typeface="Arial" panose="020B0604020202020204" pitchFamily="34" charset="0"/>
                        </a:rPr>
                        <a:t>The emulsifying agent found in many foods including egg yolk and soya.</a:t>
                      </a:r>
                      <a:endParaRPr lang="en-US" sz="18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683857015"/>
                  </a:ext>
                </a:extLst>
              </a:tr>
              <a:tr h="4561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a:latin typeface="Arial"/>
                        </a:rPr>
                        <a:t>Mucilage</a:t>
                      </a:r>
                    </a:p>
                  </a:txBody>
                  <a:tcPr anchor="ctr"/>
                </a:tc>
                <a:tc>
                  <a:txBody>
                    <a:bodyPr/>
                    <a:lstStyle/>
                    <a:p>
                      <a:pPr lvl="0">
                        <a:buNone/>
                      </a:pPr>
                      <a:r>
                        <a:rPr lang="en-GB" sz="1800">
                          <a:latin typeface="Arial" panose="020B0604020202020204" pitchFamily="34" charset="0"/>
                          <a:cs typeface="Arial" panose="020B0604020202020204" pitchFamily="34" charset="0"/>
                        </a:rPr>
                        <a:t>A polysaccharide found in some plants that can act as an emulsifier.</a:t>
                      </a:r>
                      <a:endParaRPr lang="en-US" sz="18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137258138"/>
                  </a:ext>
                </a:extLst>
              </a:tr>
            </a:tbl>
          </a:graphicData>
        </a:graphic>
      </p:graphicFrame>
    </p:spTree>
    <p:extLst>
      <p:ext uri="{BB962C8B-B14F-4D97-AF65-F5344CB8AC3E}">
        <p14:creationId xmlns:p14="http://schemas.microsoft.com/office/powerpoint/2010/main" val="35941710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EBE14-55C0-C423-6860-80CFB347D346}"/>
              </a:ext>
            </a:extLst>
          </p:cNvPr>
          <p:cNvSpPr>
            <a:spLocks noGrp="1"/>
          </p:cNvSpPr>
          <p:nvPr>
            <p:ph type="ctrTitle"/>
          </p:nvPr>
        </p:nvSpPr>
        <p:spPr/>
        <p:txBody>
          <a:bodyPr/>
          <a:lstStyle/>
          <a:p>
            <a:r>
              <a:rPr lang="en-GB"/>
              <a:t>Teacher’s guide</a:t>
            </a:r>
          </a:p>
        </p:txBody>
      </p:sp>
    </p:spTree>
    <p:extLst>
      <p:ext uri="{BB962C8B-B14F-4D97-AF65-F5344CB8AC3E}">
        <p14:creationId xmlns:p14="http://schemas.microsoft.com/office/powerpoint/2010/main" val="4824969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229AB40-F358-4B1A-986D-FEFBCB7C788B}">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39F3FD5-8BE4-4C63-8E08-C5A7A17FEE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9</Slides>
  <Notes>1</Notes>
  <HiddenSlides>0</HiddenSlides>
  <ScaleCrop>false</ScaleCrop>
  <HeadingPairs>
    <vt:vector size="4" baseType="variant">
      <vt:variant>
        <vt:lpstr>Theme</vt:lpstr>
      </vt:variant>
      <vt:variant>
        <vt:i4>4</vt:i4>
      </vt:variant>
      <vt:variant>
        <vt:lpstr>Slide Titles</vt:lpstr>
      </vt:variant>
      <vt:variant>
        <vt:i4>19</vt:i4>
      </vt:variant>
    </vt:vector>
  </HeadingPairs>
  <TitlesOfParts>
    <vt:vector size="23" baseType="lpstr">
      <vt:lpstr>Office Theme</vt:lpstr>
      <vt:lpstr>Custom Design</vt:lpstr>
      <vt:lpstr>1_Custom Design</vt:lpstr>
      <vt:lpstr>3_Custom Design</vt:lpstr>
      <vt:lpstr>Emulsions</vt:lpstr>
      <vt:lpstr>Introduction</vt:lpstr>
      <vt:lpstr>Emulsifiers</vt:lpstr>
      <vt:lpstr>The science of emulsions</vt:lpstr>
      <vt:lpstr>Stable and unstable emulsions</vt:lpstr>
      <vt:lpstr>Emulsions in food</vt:lpstr>
      <vt:lpstr>Making mayonnaise</vt:lpstr>
      <vt:lpstr>Key words </vt:lpstr>
      <vt:lpstr>Teacher’s guide</vt:lpstr>
      <vt:lpstr>Teaching about emulsions </vt:lpstr>
      <vt:lpstr>Introduction</vt:lpstr>
      <vt:lpstr>Emulsifiers </vt:lpstr>
      <vt:lpstr>The science of emulsions</vt:lpstr>
      <vt:lpstr>Emulsions in food</vt:lpstr>
      <vt:lpstr>Emulsions - mayonnaise</vt:lpstr>
      <vt:lpstr>Emulsions – Hollandaise sauce</vt:lpstr>
      <vt:lpstr>Emulsions - Vinaigrette</vt:lpstr>
      <vt:lpstr>Further supporting resources </vt:lpstr>
      <vt:lpstr>Emuls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revision>1</cp:revision>
  <dcterms:created xsi:type="dcterms:W3CDTF">2018-10-10T09:22:08Z</dcterms:created>
  <dcterms:modified xsi:type="dcterms:W3CDTF">2022-08-30T12:1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